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31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46"/>
  </p:notesMasterIdLst>
  <p:handoutMasterIdLst>
    <p:handoutMasterId r:id="rId47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2" r:id="rId11"/>
    <p:sldId id="2145705988" r:id="rId12"/>
    <p:sldId id="2145706032" r:id="rId13"/>
    <p:sldId id="2145705989" r:id="rId14"/>
    <p:sldId id="2145706005" r:id="rId15"/>
    <p:sldId id="2145705990" r:id="rId16"/>
    <p:sldId id="2145705991" r:id="rId17"/>
    <p:sldId id="2145706033" r:id="rId18"/>
    <p:sldId id="2145705978" r:id="rId19"/>
    <p:sldId id="2145706034" r:id="rId20"/>
    <p:sldId id="2145706036" r:id="rId21"/>
    <p:sldId id="2145706035" r:id="rId22"/>
    <p:sldId id="2145706037" r:id="rId23"/>
    <p:sldId id="2145706038" r:id="rId24"/>
    <p:sldId id="2145706039" r:id="rId25"/>
    <p:sldId id="2145706049" r:id="rId26"/>
    <p:sldId id="2145706048" r:id="rId27"/>
    <p:sldId id="2145706041" r:id="rId28"/>
    <p:sldId id="2145706043" r:id="rId29"/>
    <p:sldId id="2145706042" r:id="rId30"/>
    <p:sldId id="2145706046" r:id="rId31"/>
    <p:sldId id="2145706040" r:id="rId32"/>
    <p:sldId id="2145706059" r:id="rId33"/>
    <p:sldId id="2145706045" r:id="rId34"/>
    <p:sldId id="2145706047" r:id="rId35"/>
    <p:sldId id="2145706050" r:id="rId36"/>
    <p:sldId id="2145706051" r:id="rId37"/>
    <p:sldId id="2145706052" r:id="rId38"/>
    <p:sldId id="2145706053" r:id="rId39"/>
    <p:sldId id="2145706055" r:id="rId40"/>
    <p:sldId id="2145706054" r:id="rId41"/>
    <p:sldId id="2145706056" r:id="rId42"/>
    <p:sldId id="2145706057" r:id="rId43"/>
    <p:sldId id="2145706058" r:id="rId44"/>
    <p:sldId id="2145706004" r:id="rId45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88"/>
            <p14:sldId id="2145706032"/>
            <p14:sldId id="2145705989"/>
            <p14:sldId id="2145706005"/>
            <p14:sldId id="2145705990"/>
            <p14:sldId id="2145705991"/>
            <p14:sldId id="2145706033"/>
            <p14:sldId id="2145705978"/>
            <p14:sldId id="2145706034"/>
            <p14:sldId id="2145706036"/>
            <p14:sldId id="2145706035"/>
            <p14:sldId id="2145706037"/>
            <p14:sldId id="2145706038"/>
            <p14:sldId id="2145706039"/>
            <p14:sldId id="2145706049"/>
            <p14:sldId id="2145706048"/>
            <p14:sldId id="2145706041"/>
            <p14:sldId id="2145706043"/>
            <p14:sldId id="2145706042"/>
            <p14:sldId id="2145706046"/>
            <p14:sldId id="2145706040"/>
            <p14:sldId id="2145706059"/>
            <p14:sldId id="2145706045"/>
            <p14:sldId id="2145706047"/>
            <p14:sldId id="2145706050"/>
            <p14:sldId id="2145706051"/>
            <p14:sldId id="2145706052"/>
            <p14:sldId id="2145706053"/>
            <p14:sldId id="2145706055"/>
            <p14:sldId id="2145706054"/>
            <p14:sldId id="2145706056"/>
            <p14:sldId id="2145706057"/>
            <p14:sldId id="2145706058"/>
            <p14:sldId id="214570600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07CB"/>
    <a:srgbClr val="1DA8E7"/>
    <a:srgbClr val="F300D6"/>
    <a:srgbClr val="3366FF"/>
    <a:srgbClr val="CC071E"/>
    <a:srgbClr val="0CE6CF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81055" autoAdjust="0"/>
  </p:normalViewPr>
  <p:slideViewPr>
    <p:cSldViewPr snapToGrid="0" snapToObjects="1" showGuides="1">
      <p:cViewPr>
        <p:scale>
          <a:sx n="100" d="100"/>
          <a:sy n="100" d="100"/>
        </p:scale>
        <p:origin x="996" y="-336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ags" Target="tags/tag1.xml"/><Relationship Id="rId8" Type="http://schemas.openxmlformats.org/officeDocument/2006/relationships/slide" Target="slides/slide5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0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0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list types for select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ist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HeaderImag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Title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6360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32042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template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HeaderImag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Sumar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. Provider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emplate l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Provider pr ON lt.ProviderId = pr.Id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t.Title;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20627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List informat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heck access 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EXISTS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1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Member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istId = @ListId AND 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access: show list inf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.Id AS 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CASE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WHEN l.CreatedBy = @UserId THEN 'My List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ELSE NUL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END AS Ownership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CASE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WHEN f.Id IS NOT NULL THEN 'Yes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ELSE 'No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END AS IsFavorit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Has access' AS Access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EFT JOIN FavoriteList f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ON l.Id = f.ListId AND f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.Id = @List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no access: return notic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Ownership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IsFavorit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No access' AS AccessStatus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list views of the selected lis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heck if the user has acces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EXISTS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1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MemberPermission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istId = @ListId AND 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access: show all views of the lis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View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View lv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v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v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no acces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View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View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ViewTyp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DisplayOrde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IsDefaul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CreatedA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No access to this list' AS AccessStatus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visible Dynamic Column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IsVisib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 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ystemDataType sd ON dc.SystemDataTypeId = sd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c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dc.IsVisible = 1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all Dynamic Column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IsVisib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 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c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5. Display avatars of users with access to the lis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,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MemberPermission lmp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lmp.AccountId = a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mp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b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 -- Change to desired ListId</a:t>
            </a:r>
          </a:p>
          <a:p>
            <a:r>
              <a:rPr lang="es-E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Columns NVARCHAR(4000) = ''; -- Column &lt; 100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SQL NVARCHAR(4000) = ''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Build column list dynamically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@Columns = STRING_AGG(QUOTENAME(ColumnName), ', '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istId = @ListId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onstruct the dynamic SQ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 @SQL = 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*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r.Id AS Row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r.DisplayOrder AS RowOrde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cv.CellValu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Row l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SS JOIN ListDynamicColumn l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EFT JOIN ListCellValue lcv ON lcv.ListRowId = lr.Id AND lcv.ListColumnId = ldc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r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S SourceTabl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IVOT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MAX(CellValue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OR ColumnName IN (' + @Columns + '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S PivotTabl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RowOrder;'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Execute the dynamic SQ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EC sp_executesql @SQL, N'@ListId INT', @List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395236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747689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Data Types of the Column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CoverImg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ata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SystemDataType s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6216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Key Settings corresponding to that Data Type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SystemDataType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Ke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Value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KeySetting k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DataTypeSettingKey dsk ON ks.Id = dsk.KeySetting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ystemDataType sd ON dsk.SystemDataTypeId = sd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sk.SystemDataTypeId = @SystemDataType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102008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the cell values for each column of the specified list 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 INT = 1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cv.CellValu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CellValue lcv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DynamicColumn ldc ON lcv.ListColumnId = ldc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Row lr ON lcv.ListRowId = lr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r.Id = @List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AND lr.ListId = @ListId       -- đảm bảo đúng row thuộc list đó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AND ldc.ListId = @ListId      -- chỉ lấy cột của list này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*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from ListMember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where ListId = 2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the comments associated with that list 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 INT = 1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onten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reatedA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RowComment lr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lrc.CreatedBy = a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rc.ListRowId = @ListRow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40242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F0447F-1CB7-04D9-0ABB-E37A07606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B055D-4B30-A59E-E929-5D5C47DDF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21A2DD-CFBC-9487-1529-1ED478A5C0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22A52D-A0FB-6089-A27B-06DBDB730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8549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recent list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l.LastAccessedA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 WHEN fvrl.Id IS NOT NULL THEN 1 ELSE 0 END AS IsFavorite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RecentList rl ON l.Id = rl.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FavoriteList fvrl ON fvrl.ListId = l.Id and fvrl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rl.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rl.LastAccessedA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lists that the logged-in user create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Workspace ws ON l.WorkspaceID = ws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ws.CreatedBy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ws.WorkspaceName = 'My Lists'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information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La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Email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Compan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ccount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Account 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a.Id = @User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favorite lists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 -- Replace with the ID of the logged-in user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FavoriteList f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NER JOIN List l ON fl.ListId = l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fl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fl.CreatedAt DESC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1926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information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La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Email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Compan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ccount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Account 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a.Id = @User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1291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655DA-FFB3-CD96-49C7-13E5BD21E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FD26C4-EB8E-F90B-B6B1-637DEBE50D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10F57F-EAD8-D5E8-5D44-20FF564AF8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38117-AC65-D396-6A73-AA306EAD63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911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9826610-AFF3-C258-3149-A3D7BCF27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 Scre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BF6E0D-D012-449B-149E-9EBCC31AE6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830" y="1776100"/>
            <a:ext cx="8935697" cy="4467849"/>
          </a:xfrm>
          <a:prstGeom prst="rect">
            <a:avLst/>
          </a:prstGeom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3A86D01F-2B75-5726-F37A-5DB5E5B04F7D}"/>
              </a:ext>
            </a:extLst>
          </p:cNvPr>
          <p:cNvSpPr/>
          <p:nvPr/>
        </p:nvSpPr>
        <p:spPr>
          <a:xfrm>
            <a:off x="1055830" y="4203788"/>
            <a:ext cx="8935697" cy="2040161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C80F32-294F-015C-636B-7BE5F5D54387}"/>
              </a:ext>
            </a:extLst>
          </p:cNvPr>
          <p:cNvSpPr/>
          <p:nvPr/>
        </p:nvSpPr>
        <p:spPr>
          <a:xfrm>
            <a:off x="5915830" y="2974745"/>
            <a:ext cx="1408895" cy="3627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Workspa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21C37B-6673-9722-8C82-6464ACCE6BF6}"/>
              </a:ext>
            </a:extLst>
          </p:cNvPr>
          <p:cNvSpPr txBox="1"/>
          <p:nvPr/>
        </p:nvSpPr>
        <p:spPr>
          <a:xfrm>
            <a:off x="3106594" y="3532406"/>
            <a:ext cx="2240106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chemeClr val="tx2"/>
                </a:solidFill>
              </a:rPr>
              <a:t>Workspace. WorkspaceName</a:t>
            </a:r>
            <a:endParaRPr lang="en-US" sz="1400" dirty="0" err="1">
              <a:solidFill>
                <a:schemeClr val="tx2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42CD1FFB-49E8-E09F-5426-0697FFCF21F4}"/>
              </a:ext>
            </a:extLst>
          </p:cNvPr>
          <p:cNvSpPr/>
          <p:nvPr/>
        </p:nvSpPr>
        <p:spPr>
          <a:xfrm>
            <a:off x="2976179" y="5939035"/>
            <a:ext cx="837025" cy="129957"/>
          </a:xfrm>
          <a:prstGeom prst="borderCallout1">
            <a:avLst>
              <a:gd name="adj1" fmla="val 44778"/>
              <a:gd name="adj2" fmla="val 99001"/>
              <a:gd name="adj3" fmla="val -1668228"/>
              <a:gd name="adj4" fmla="val 131414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Callout: Line 17">
            <a:extLst>
              <a:ext uri="{FF2B5EF4-FFF2-40B4-BE49-F238E27FC236}">
                <a16:creationId xmlns:a16="http://schemas.microsoft.com/office/drawing/2014/main" id="{335DE1BB-EAC7-90B2-3B45-49E2390A5661}"/>
              </a:ext>
            </a:extLst>
          </p:cNvPr>
          <p:cNvSpPr/>
          <p:nvPr/>
        </p:nvSpPr>
        <p:spPr>
          <a:xfrm>
            <a:off x="1933773" y="4335883"/>
            <a:ext cx="837025" cy="428625"/>
          </a:xfrm>
          <a:prstGeom prst="borderCallout1">
            <a:avLst>
              <a:gd name="adj1" fmla="val 4778"/>
              <a:gd name="adj2" fmla="val 72828"/>
              <a:gd name="adj3" fmla="val -117313"/>
              <a:gd name="adj4" fmla="val 222451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93BE00-898F-B2E1-3CEA-98063980D321}"/>
              </a:ext>
            </a:extLst>
          </p:cNvPr>
          <p:cNvSpPr txBox="1"/>
          <p:nvPr/>
        </p:nvSpPr>
        <p:spPr>
          <a:xfrm>
            <a:off x="4655994" y="4369970"/>
            <a:ext cx="2240106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chemeClr val="tx2"/>
                </a:solidFill>
              </a:rPr>
              <a:t>Workspace. IsPersonal = true</a:t>
            </a:r>
            <a:endParaRPr lang="en-US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186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AD92-43CA-AD7C-DB13-043DC4ACD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1645B3A-A54E-3703-4BCE-C949DA166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Dashboard Scre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7E551C-0480-3B59-3D1E-01EB100264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7844" y="1609982"/>
            <a:ext cx="5996311" cy="4247901"/>
          </a:xfrm>
          <a:prstGeom prst="rect">
            <a:avLst/>
          </a:prstGeom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F2D6C545-BCD7-EABF-C3C4-DC6308209304}"/>
              </a:ext>
            </a:extLst>
          </p:cNvPr>
          <p:cNvSpPr/>
          <p:nvPr/>
        </p:nvSpPr>
        <p:spPr>
          <a:xfrm>
            <a:off x="3262311" y="3448183"/>
            <a:ext cx="5667375" cy="2219192"/>
          </a:xfrm>
          <a:prstGeom prst="borderCallout1">
            <a:avLst>
              <a:gd name="adj1" fmla="val 4358"/>
              <a:gd name="adj2" fmla="val 99993"/>
              <a:gd name="adj3" fmla="val -26702"/>
              <a:gd name="adj4" fmla="val 113226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2E62C3-AF59-DEEA-A63C-A7A43A8D1CB4}"/>
              </a:ext>
            </a:extLst>
          </p:cNvPr>
          <p:cNvSpPr/>
          <p:nvPr/>
        </p:nvSpPr>
        <p:spPr>
          <a:xfrm>
            <a:off x="9698059" y="2400432"/>
            <a:ext cx="1084242" cy="38103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Account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CE948FB2-AB04-CBED-083A-93001B63DF75}"/>
              </a:ext>
            </a:extLst>
          </p:cNvPr>
          <p:cNvSpPr/>
          <p:nvPr/>
        </p:nvSpPr>
        <p:spPr>
          <a:xfrm>
            <a:off x="5372099" y="3695700"/>
            <a:ext cx="1638301" cy="533400"/>
          </a:xfrm>
          <a:prstGeom prst="borderCallout1">
            <a:avLst>
              <a:gd name="adj1" fmla="val 49001"/>
              <a:gd name="adj2" fmla="val 101102"/>
              <a:gd name="adj3" fmla="val 42941"/>
              <a:gd name="adj4" fmla="val 244039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404C6D-804F-5A7C-4903-DC2C1A5E7D67}"/>
              </a:ext>
            </a:extLst>
          </p:cNvPr>
          <p:cNvSpPr txBox="1"/>
          <p:nvPr/>
        </p:nvSpPr>
        <p:spPr>
          <a:xfrm>
            <a:off x="9596598" y="373393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FirstName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LastNam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14" name="Callout: Line 13">
            <a:extLst>
              <a:ext uri="{FF2B5EF4-FFF2-40B4-BE49-F238E27FC236}">
                <a16:creationId xmlns:a16="http://schemas.microsoft.com/office/drawing/2014/main" id="{C46EBC30-8D6F-840B-B66B-DBAEAEB328DA}"/>
              </a:ext>
            </a:extLst>
          </p:cNvPr>
          <p:cNvSpPr/>
          <p:nvPr/>
        </p:nvSpPr>
        <p:spPr>
          <a:xfrm>
            <a:off x="5372099" y="4314825"/>
            <a:ext cx="3371849" cy="333507"/>
          </a:xfrm>
          <a:prstGeom prst="borderCallout1">
            <a:avLst>
              <a:gd name="adj1" fmla="val 97372"/>
              <a:gd name="adj2" fmla="val 100274"/>
              <a:gd name="adj3" fmla="val 149708"/>
              <a:gd name="adj4" fmla="val 123149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14E061-D8C0-6DF6-1FCE-F8396C2183A8}"/>
              </a:ext>
            </a:extLst>
          </p:cNvPr>
          <p:cNvSpPr txBox="1"/>
          <p:nvPr/>
        </p:nvSpPr>
        <p:spPr>
          <a:xfrm>
            <a:off x="9582084" y="4905374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Email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B6BF16C7-5C48-F153-F529-17447D237CD0}"/>
              </a:ext>
            </a:extLst>
          </p:cNvPr>
          <p:cNvSpPr/>
          <p:nvPr/>
        </p:nvSpPr>
        <p:spPr>
          <a:xfrm>
            <a:off x="3343276" y="3704960"/>
            <a:ext cx="1864354" cy="1848115"/>
          </a:xfrm>
          <a:prstGeom prst="borderCallout1">
            <a:avLst>
              <a:gd name="adj1" fmla="val 53564"/>
              <a:gd name="adj2" fmla="val 648"/>
              <a:gd name="adj3" fmla="val 71884"/>
              <a:gd name="adj4" fmla="val -60775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C1C45C-B33E-EE5E-EE7E-B86801EE9F80}"/>
              </a:ext>
            </a:extLst>
          </p:cNvPr>
          <p:cNvSpPr txBox="1"/>
          <p:nvPr/>
        </p:nvSpPr>
        <p:spPr>
          <a:xfrm>
            <a:off x="620710" y="4884139"/>
            <a:ext cx="914400" cy="2877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Avatar</a:t>
            </a:r>
            <a:endParaRPr lang="en-US" dirty="0" err="1">
              <a:solidFill>
                <a:srgbClr val="005D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8093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4864C-4583-CC29-9DF4-730C90929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482B54-9CF4-9EAB-0CED-7385EC256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Entity Relationship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01E4A-F84D-2B52-024A-0DA473E67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739" y="1098000"/>
            <a:ext cx="9182521" cy="565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1861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AE478-4911-D45A-7A84-ABA3EBD9D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7524BDD-C6F5-8DBA-E0DD-04E9C990C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List Scre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97EB7C-BDF4-E62F-836E-FC6E39422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315" y="1692973"/>
            <a:ext cx="11449369" cy="3472054"/>
          </a:xfrm>
          <a:prstGeom prst="rect">
            <a:avLst/>
          </a:prstGeom>
        </p:spPr>
      </p:pic>
      <p:sp>
        <p:nvSpPr>
          <p:cNvPr id="10" name="Callout: Line 9">
            <a:extLst>
              <a:ext uri="{FF2B5EF4-FFF2-40B4-BE49-F238E27FC236}">
                <a16:creationId xmlns:a16="http://schemas.microsoft.com/office/drawing/2014/main" id="{D5ACDA8F-4802-3EA2-CEA1-0018FDC86628}"/>
              </a:ext>
            </a:extLst>
          </p:cNvPr>
          <p:cNvSpPr/>
          <p:nvPr/>
        </p:nvSpPr>
        <p:spPr>
          <a:xfrm>
            <a:off x="431999" y="2794088"/>
            <a:ext cx="11112301" cy="2171612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E29C630-D521-B787-C500-2A81779C348C}"/>
              </a:ext>
            </a:extLst>
          </p:cNvPr>
          <p:cNvSpPr/>
          <p:nvPr/>
        </p:nvSpPr>
        <p:spPr>
          <a:xfrm>
            <a:off x="6620277" y="1699412"/>
            <a:ext cx="1408895" cy="36274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ype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432E1A35-CDE9-A89D-E676-1EFBE259E99D}"/>
              </a:ext>
            </a:extLst>
          </p:cNvPr>
          <p:cNvSpPr/>
          <p:nvPr/>
        </p:nvSpPr>
        <p:spPr>
          <a:xfrm>
            <a:off x="781331" y="3086100"/>
            <a:ext cx="1530070" cy="1193800"/>
          </a:xfrm>
          <a:prstGeom prst="borderCallout1">
            <a:avLst>
              <a:gd name="adj1" fmla="val 97610"/>
              <a:gd name="adj2" fmla="val 97903"/>
              <a:gd name="adj3" fmla="val 199315"/>
              <a:gd name="adj4" fmla="val 14232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A6809F88-D8DD-667E-0B79-EC9CE773DE7B}"/>
              </a:ext>
            </a:extLst>
          </p:cNvPr>
          <p:cNvSpPr/>
          <p:nvPr/>
        </p:nvSpPr>
        <p:spPr>
          <a:xfrm>
            <a:off x="3187699" y="4279900"/>
            <a:ext cx="1231901" cy="342900"/>
          </a:xfrm>
          <a:prstGeom prst="borderCallout1">
            <a:avLst>
              <a:gd name="adj1" fmla="val 97610"/>
              <a:gd name="adj2" fmla="val 97903"/>
              <a:gd name="adj3" fmla="val 306722"/>
              <a:gd name="adj4" fmla="val 12376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8E9E8C6D-2018-7A79-74F6-5353FE3895A8}"/>
              </a:ext>
            </a:extLst>
          </p:cNvPr>
          <p:cNvSpPr/>
          <p:nvPr/>
        </p:nvSpPr>
        <p:spPr>
          <a:xfrm>
            <a:off x="9536048" y="3422650"/>
            <a:ext cx="1530070" cy="692150"/>
          </a:xfrm>
          <a:prstGeom prst="borderCallout1">
            <a:avLst>
              <a:gd name="adj1" fmla="val 101280"/>
              <a:gd name="adj2" fmla="val 5770"/>
              <a:gd name="adj3" fmla="val 284704"/>
              <a:gd name="adj4" fmla="val -23147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499EA62-3FA8-90A8-599A-34359151CFF1}"/>
              </a:ext>
            </a:extLst>
          </p:cNvPr>
          <p:cNvSpPr txBox="1"/>
          <p:nvPr/>
        </p:nvSpPr>
        <p:spPr>
          <a:xfrm>
            <a:off x="2201798" y="5601814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HeaderImag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89EDCD8-8D4B-C605-28EB-BB8B88C5E73C}"/>
              </a:ext>
            </a:extLst>
          </p:cNvPr>
          <p:cNvSpPr txBox="1"/>
          <p:nvPr/>
        </p:nvSpPr>
        <p:spPr>
          <a:xfrm>
            <a:off x="4834799" y="5224263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Titl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981F9A-160E-FA60-13D7-3C9E10F8A7E1}"/>
              </a:ext>
            </a:extLst>
          </p:cNvPr>
          <p:cNvSpPr txBox="1"/>
          <p:nvPr/>
        </p:nvSpPr>
        <p:spPr>
          <a:xfrm>
            <a:off x="8103720" y="5428772"/>
            <a:ext cx="2480401" cy="30023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 ListTypeDescription </a:t>
            </a:r>
            <a:endParaRPr lang="en-US" dirty="0" err="1">
              <a:solidFill>
                <a:srgbClr val="005D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114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CF4D9-2F87-79EA-153C-552F34C2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F1A088-7490-7621-ECF9-0EA7052AC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From List Typ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A790497-41CA-ECB4-231B-C6FE0AA7039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72" b="8009"/>
          <a:stretch>
            <a:fillRect/>
          </a:stretch>
        </p:blipFill>
        <p:spPr>
          <a:xfrm>
            <a:off x="0" y="1212300"/>
            <a:ext cx="12192000" cy="5207000"/>
          </a:xfrm>
        </p:spPr>
      </p:pic>
      <p:sp>
        <p:nvSpPr>
          <p:cNvPr id="4" name="Callout: Line 3">
            <a:extLst>
              <a:ext uri="{FF2B5EF4-FFF2-40B4-BE49-F238E27FC236}">
                <a16:creationId xmlns:a16="http://schemas.microsoft.com/office/drawing/2014/main" id="{52D985DF-C1F6-502A-7140-18B3F975E2FF}"/>
              </a:ext>
            </a:extLst>
          </p:cNvPr>
          <p:cNvSpPr/>
          <p:nvPr/>
        </p:nvSpPr>
        <p:spPr>
          <a:xfrm>
            <a:off x="1270000" y="1409700"/>
            <a:ext cx="10274300" cy="4236000"/>
          </a:xfrm>
          <a:prstGeom prst="borderCallout1">
            <a:avLst>
              <a:gd name="adj1" fmla="val 802"/>
              <a:gd name="adj2" fmla="val 48931"/>
              <a:gd name="adj3" fmla="val -9331"/>
              <a:gd name="adj4" fmla="val 70251"/>
            </a:avLst>
          </a:prstGeom>
          <a:noFill/>
          <a:ln w="38100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49621B3-BB2D-741D-C7AC-DE452D3EF9AF}"/>
              </a:ext>
            </a:extLst>
          </p:cNvPr>
          <p:cNvSpPr/>
          <p:nvPr/>
        </p:nvSpPr>
        <p:spPr>
          <a:xfrm>
            <a:off x="8752663" y="678817"/>
            <a:ext cx="785037" cy="476333"/>
          </a:xfrm>
          <a:prstGeom prst="roundRect">
            <a:avLst/>
          </a:prstGeom>
          <a:solidFill>
            <a:srgbClr val="00B0F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2000" b="1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8CE2E8B-C49D-FC3A-8DC8-35298900117E}"/>
              </a:ext>
            </a:extLst>
          </p:cNvPr>
          <p:cNvSpPr/>
          <p:nvPr/>
        </p:nvSpPr>
        <p:spPr>
          <a:xfrm>
            <a:off x="3215463" y="1574333"/>
            <a:ext cx="1293037" cy="4763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yp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801F1FD-AB95-6DA2-1F6E-B31A90F48FC6}"/>
              </a:ext>
            </a:extLst>
          </p:cNvPr>
          <p:cNvSpPr/>
          <p:nvPr/>
        </p:nvSpPr>
        <p:spPr>
          <a:xfrm>
            <a:off x="7348130" y="3911600"/>
            <a:ext cx="4056469" cy="464100"/>
          </a:xfrm>
          <a:prstGeom prst="roundRect">
            <a:avLst/>
          </a:prstGeom>
          <a:noFill/>
          <a:ln w="38100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41FE487-A88A-57BD-C8CE-A442F19BD767}"/>
              </a:ext>
            </a:extLst>
          </p:cNvPr>
          <p:cNvSpPr/>
          <p:nvPr/>
        </p:nvSpPr>
        <p:spPr>
          <a:xfrm>
            <a:off x="9145181" y="3434717"/>
            <a:ext cx="1676400" cy="47633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List.ListName</a:t>
            </a:r>
          </a:p>
        </p:txBody>
      </p:sp>
    </p:spTree>
    <p:extLst>
      <p:ext uri="{BB962C8B-B14F-4D97-AF65-F5344CB8AC3E}">
        <p14:creationId xmlns:p14="http://schemas.microsoft.com/office/powerpoint/2010/main" val="2405482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B06DFE-E460-5899-FEE9-33EF2426F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C1A8E6-F028-23B9-E18E-11E4957211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529" y="2155634"/>
            <a:ext cx="10440942" cy="3584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4611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6619-FFFF-5302-9D68-83328BFD0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E4EABAE-EECB-BFE2-DE62-E4E7DE8D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B0AC3EC-57F2-2BF4-87F3-8DD9EE81A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2" t="8009" b="8009"/>
          <a:stretch>
            <a:fillRect/>
          </a:stretch>
        </p:blipFill>
        <p:spPr>
          <a:xfrm>
            <a:off x="431999" y="1098000"/>
            <a:ext cx="11328002" cy="5473408"/>
          </a:xfrm>
        </p:spPr>
      </p:pic>
    </p:spTree>
    <p:extLst>
      <p:ext uri="{BB962C8B-B14F-4D97-AF65-F5344CB8AC3E}">
        <p14:creationId xmlns:p14="http://schemas.microsoft.com/office/powerpoint/2010/main" val="36416997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9F7222-EBF7-7AE9-6287-83AE26DEC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 Templ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691C61-B21A-A9D4-CFC1-06B3FD11A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6519" y="1457829"/>
            <a:ext cx="10478962" cy="5325218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100B74CE-6DA3-3508-89F6-42A370BA049B}"/>
              </a:ext>
            </a:extLst>
          </p:cNvPr>
          <p:cNvSpPr/>
          <p:nvPr/>
        </p:nvSpPr>
        <p:spPr>
          <a:xfrm>
            <a:off x="2514600" y="1457829"/>
            <a:ext cx="8820150" cy="4867274"/>
          </a:xfrm>
          <a:prstGeom prst="borderCallout1">
            <a:avLst>
              <a:gd name="adj1" fmla="val 19"/>
              <a:gd name="adj2" fmla="val 12862"/>
              <a:gd name="adj3" fmla="val -7702"/>
              <a:gd name="adj4" fmla="val 938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5910DE5-E701-48DE-A365-3031F073F8BA}"/>
              </a:ext>
            </a:extLst>
          </p:cNvPr>
          <p:cNvSpPr/>
          <p:nvPr/>
        </p:nvSpPr>
        <p:spPr>
          <a:xfrm>
            <a:off x="1812306" y="917747"/>
            <a:ext cx="1537937" cy="24979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0EE8106B-989D-583A-0E40-2E6AF16669F7}"/>
              </a:ext>
            </a:extLst>
          </p:cNvPr>
          <p:cNvSpPr/>
          <p:nvPr/>
        </p:nvSpPr>
        <p:spPr>
          <a:xfrm>
            <a:off x="2581274" y="1598699"/>
            <a:ext cx="1476375" cy="362747"/>
          </a:xfrm>
          <a:prstGeom prst="borderCallout1">
            <a:avLst>
              <a:gd name="adj1" fmla="val 53318"/>
              <a:gd name="adj2" fmla="val 99899"/>
              <a:gd name="adj3" fmla="val 50791"/>
              <a:gd name="adj4" fmla="val 139840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F4781D-54FE-7244-6DE0-1FE6CB72AEEB}"/>
              </a:ext>
            </a:extLst>
          </p:cNvPr>
          <p:cNvSpPr txBox="1"/>
          <p:nvPr/>
        </p:nvSpPr>
        <p:spPr>
          <a:xfrm>
            <a:off x="4857168" y="1598699"/>
            <a:ext cx="3534357" cy="38485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emplate.Icon / Color / Title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C36BA3C8-B5FE-1C3C-5FEE-268FA2DB6981}"/>
              </a:ext>
            </a:extLst>
          </p:cNvPr>
          <p:cNvSpPr/>
          <p:nvPr/>
        </p:nvSpPr>
        <p:spPr>
          <a:xfrm>
            <a:off x="2581274" y="2028140"/>
            <a:ext cx="2114551" cy="257249"/>
          </a:xfrm>
          <a:prstGeom prst="borderCallout1">
            <a:avLst>
              <a:gd name="adj1" fmla="val 53318"/>
              <a:gd name="adj2" fmla="val 100736"/>
              <a:gd name="adj3" fmla="val 50791"/>
              <a:gd name="adj4" fmla="val 127678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8B1CF7-002B-9237-9F52-12B765B2F7DD}"/>
              </a:ext>
            </a:extLst>
          </p:cNvPr>
          <p:cNvSpPr txBox="1"/>
          <p:nvPr/>
        </p:nvSpPr>
        <p:spPr>
          <a:xfrm>
            <a:off x="5396918" y="1967227"/>
            <a:ext cx="3534357" cy="38485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emplate.TemplateDescriptio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16E0F768-70F0-F283-0754-2B36C4D1D96D}"/>
              </a:ext>
            </a:extLst>
          </p:cNvPr>
          <p:cNvSpPr/>
          <p:nvPr/>
        </p:nvSpPr>
        <p:spPr>
          <a:xfrm>
            <a:off x="856519" y="1527373"/>
            <a:ext cx="1334231" cy="949128"/>
          </a:xfrm>
          <a:prstGeom prst="borderCallout1">
            <a:avLst>
              <a:gd name="adj1" fmla="val 2022"/>
              <a:gd name="adj2" fmla="val 72091"/>
              <a:gd name="adj3" fmla="val -36395"/>
              <a:gd name="adj4" fmla="val 8648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C0FD37-16AD-89E4-A549-F68F58638F12}"/>
              </a:ext>
            </a:extLst>
          </p:cNvPr>
          <p:cNvSpPr/>
          <p:nvPr/>
        </p:nvSpPr>
        <p:spPr>
          <a:xfrm>
            <a:off x="2705100" y="2341590"/>
            <a:ext cx="8458200" cy="3840135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8FF254D-4A7D-BC91-8D7B-9E6B05E4A035}"/>
              </a:ext>
            </a:extLst>
          </p:cNvPr>
          <p:cNvSpPr/>
          <p:nvPr/>
        </p:nvSpPr>
        <p:spPr>
          <a:xfrm>
            <a:off x="9446208" y="1695496"/>
            <a:ext cx="1717092" cy="58989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View</a:t>
            </a:r>
          </a:p>
        </p:txBody>
      </p:sp>
    </p:spTree>
    <p:extLst>
      <p:ext uri="{BB962C8B-B14F-4D97-AF65-F5344CB8AC3E}">
        <p14:creationId xmlns:p14="http://schemas.microsoft.com/office/powerpoint/2010/main" val="41373242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38EC8B-0ADE-3A57-D844-9FE2F10B1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 Templ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A14ABE-2E79-954D-0E4B-A117A7DBF21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450"/>
          <a:stretch>
            <a:fillRect/>
          </a:stretch>
        </p:blipFill>
        <p:spPr>
          <a:xfrm>
            <a:off x="431999" y="1098000"/>
            <a:ext cx="8634449" cy="5201376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DD60D09E-3392-8397-557B-4FC7ADE92C5F}"/>
              </a:ext>
            </a:extLst>
          </p:cNvPr>
          <p:cNvSpPr/>
          <p:nvPr/>
        </p:nvSpPr>
        <p:spPr>
          <a:xfrm>
            <a:off x="5362574" y="1994216"/>
            <a:ext cx="1085851" cy="3561847"/>
          </a:xfrm>
          <a:prstGeom prst="borderCallout1">
            <a:avLst>
              <a:gd name="adj1" fmla="val -522"/>
              <a:gd name="adj2" fmla="val 59676"/>
              <a:gd name="adj3" fmla="val -13351"/>
              <a:gd name="adj4" fmla="val 5966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0807959-0E64-06C6-CA31-7A466D696210}"/>
              </a:ext>
            </a:extLst>
          </p:cNvPr>
          <p:cNvSpPr/>
          <p:nvPr/>
        </p:nvSpPr>
        <p:spPr>
          <a:xfrm>
            <a:off x="5006665" y="1225605"/>
            <a:ext cx="2178669" cy="320503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Column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8CF07A9D-C85D-162C-CE7B-8B88EF230BDE}"/>
              </a:ext>
            </a:extLst>
          </p:cNvPr>
          <p:cNvSpPr/>
          <p:nvPr/>
        </p:nvSpPr>
        <p:spPr>
          <a:xfrm>
            <a:off x="679649" y="4508817"/>
            <a:ext cx="8286750" cy="1047246"/>
          </a:xfrm>
          <a:prstGeom prst="borderCallout1">
            <a:avLst>
              <a:gd name="adj1" fmla="val 45495"/>
              <a:gd name="adj2" fmla="val 99759"/>
              <a:gd name="adj3" fmla="val 47281"/>
              <a:gd name="adj4" fmla="val 106786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3348F27-C9C3-58B8-C581-FECD4B0AE6E6}"/>
              </a:ext>
            </a:extLst>
          </p:cNvPr>
          <p:cNvSpPr/>
          <p:nvPr/>
        </p:nvSpPr>
        <p:spPr>
          <a:xfrm>
            <a:off x="9584816" y="4858051"/>
            <a:ext cx="1740409" cy="3205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Row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3EA4FC54-75BC-A315-894B-35A148C7145C}"/>
              </a:ext>
            </a:extLst>
          </p:cNvPr>
          <p:cNvSpPr/>
          <p:nvPr/>
        </p:nvSpPr>
        <p:spPr>
          <a:xfrm>
            <a:off x="5362574" y="1994217"/>
            <a:ext cx="1085851" cy="369332"/>
          </a:xfrm>
          <a:prstGeom prst="borderCallout1">
            <a:avLst>
              <a:gd name="adj1" fmla="val 54500"/>
              <a:gd name="adj2" fmla="val 66694"/>
              <a:gd name="adj3" fmla="val -48380"/>
              <a:gd name="adj4" fmla="val 192998"/>
            </a:avLst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9C1446A-593E-AC92-3674-7916A7831054}"/>
              </a:ext>
            </a:extLst>
          </p:cNvPr>
          <p:cNvSpPr txBox="1"/>
          <p:nvPr/>
        </p:nvSpPr>
        <p:spPr>
          <a:xfrm>
            <a:off x="7453200" y="1624884"/>
            <a:ext cx="43068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TemplateColumn. Icon / ColumnNa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CC42B57-FD4F-BFF5-8587-DCEBF4BAECC2}"/>
              </a:ext>
            </a:extLst>
          </p:cNvPr>
          <p:cNvSpPr/>
          <p:nvPr/>
        </p:nvSpPr>
        <p:spPr>
          <a:xfrm>
            <a:off x="5594349" y="2098442"/>
            <a:ext cx="177801" cy="184150"/>
          </a:xfrm>
          <a:prstGeom prst="rect">
            <a:avLst/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5733A72-C435-53BA-2171-E47F45A6FB31}"/>
              </a:ext>
            </a:extLst>
          </p:cNvPr>
          <p:cNvSpPr/>
          <p:nvPr/>
        </p:nvSpPr>
        <p:spPr>
          <a:xfrm>
            <a:off x="5772150" y="2098442"/>
            <a:ext cx="323850" cy="184150"/>
          </a:xfrm>
          <a:prstGeom prst="rect">
            <a:avLst/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C5FA7D8-7674-9AC0-FBE9-5CD0E21871BC}"/>
              </a:ext>
            </a:extLst>
          </p:cNvPr>
          <p:cNvSpPr/>
          <p:nvPr/>
        </p:nvSpPr>
        <p:spPr>
          <a:xfrm>
            <a:off x="5406389" y="4532717"/>
            <a:ext cx="1019176" cy="992866"/>
          </a:xfrm>
          <a:prstGeom prst="roundRect">
            <a:avLst/>
          </a:prstGeom>
          <a:pattFill prst="wdDnDiag">
            <a:fgClr>
              <a:srgbClr val="99B9D4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1DE36B1-89F9-04DB-0BB3-A36DE9C0095F}"/>
              </a:ext>
            </a:extLst>
          </p:cNvPr>
          <p:cNvCxnSpPr>
            <a:cxnSpLocks/>
          </p:cNvCxnSpPr>
          <p:nvPr/>
        </p:nvCxnSpPr>
        <p:spPr>
          <a:xfrm flipV="1">
            <a:off x="6299272" y="4274820"/>
            <a:ext cx="391088" cy="396240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7B84C8C1-AB2A-5B31-54B9-87F33D1ACE9A}"/>
              </a:ext>
            </a:extLst>
          </p:cNvPr>
          <p:cNvSpPr/>
          <p:nvPr/>
        </p:nvSpPr>
        <p:spPr>
          <a:xfrm>
            <a:off x="6690178" y="3986544"/>
            <a:ext cx="2276221" cy="320503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CellValu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759CC442-EFF2-76BC-9A98-E97133FCF3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3249" y="4762591"/>
            <a:ext cx="495369" cy="17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9598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20A3E-6BDB-107F-240A-03615A82F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0783896-60B4-F399-9C99-17964685FA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42645"/>
            <a:ext cx="10440857" cy="516327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773E281-089F-FD96-D84F-3550B1B90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List from Template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334D620A-2F5E-9E20-587D-EF7159820E2E}"/>
              </a:ext>
            </a:extLst>
          </p:cNvPr>
          <p:cNvSpPr/>
          <p:nvPr/>
        </p:nvSpPr>
        <p:spPr>
          <a:xfrm>
            <a:off x="432000" y="1042645"/>
            <a:ext cx="6092626" cy="4897608"/>
          </a:xfrm>
          <a:prstGeom prst="borderCallout1">
            <a:avLst>
              <a:gd name="adj1" fmla="val 13399"/>
              <a:gd name="adj2" fmla="val 100035"/>
              <a:gd name="adj3" fmla="val 13614"/>
              <a:gd name="adj4" fmla="val 10806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8BDEA8C-E6C4-C5D4-3773-2D3DECD34782}"/>
              </a:ext>
            </a:extLst>
          </p:cNvPr>
          <p:cNvSpPr/>
          <p:nvPr/>
        </p:nvSpPr>
        <p:spPr>
          <a:xfrm>
            <a:off x="7007241" y="1573067"/>
            <a:ext cx="1537937" cy="24979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17DE8B8A-971F-48CF-01A3-F7E525E43D19}"/>
              </a:ext>
            </a:extLst>
          </p:cNvPr>
          <p:cNvSpPr/>
          <p:nvPr/>
        </p:nvSpPr>
        <p:spPr>
          <a:xfrm>
            <a:off x="266700" y="917746"/>
            <a:ext cx="10687050" cy="5288169"/>
          </a:xfrm>
          <a:prstGeom prst="borderCallout1">
            <a:avLst>
              <a:gd name="adj1" fmla="val -470"/>
              <a:gd name="adj2" fmla="val 83725"/>
              <a:gd name="adj3" fmla="val -4758"/>
              <a:gd name="adj4" fmla="val 80969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EA31284-BDCB-9E68-0D2B-E860295040EC}"/>
              </a:ext>
            </a:extLst>
          </p:cNvPr>
          <p:cNvSpPr/>
          <p:nvPr/>
        </p:nvSpPr>
        <p:spPr>
          <a:xfrm>
            <a:off x="8195936" y="442680"/>
            <a:ext cx="698484" cy="24979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5B9B5551-D05B-987C-35E9-F75875B7EA06}"/>
              </a:ext>
            </a:extLst>
          </p:cNvPr>
          <p:cNvSpPr/>
          <p:nvPr/>
        </p:nvSpPr>
        <p:spPr>
          <a:xfrm>
            <a:off x="6819899" y="3628700"/>
            <a:ext cx="3914776" cy="540076"/>
          </a:xfrm>
          <a:prstGeom prst="borderCallout1">
            <a:avLst>
              <a:gd name="adj1" fmla="val 1294"/>
              <a:gd name="adj2" fmla="val 58908"/>
              <a:gd name="adj3" fmla="val -48849"/>
              <a:gd name="adj4" fmla="val 50555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7AE1F45-D09B-5B2C-CDD4-D6575A5D4F3D}"/>
              </a:ext>
            </a:extLst>
          </p:cNvPr>
          <p:cNvSpPr/>
          <p:nvPr/>
        </p:nvSpPr>
        <p:spPr>
          <a:xfrm>
            <a:off x="7776209" y="2958384"/>
            <a:ext cx="1676400" cy="47633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tx2"/>
                </a:solidFill>
              </a:rPr>
              <a:t>List.ListName</a:t>
            </a:r>
          </a:p>
        </p:txBody>
      </p:sp>
    </p:spTree>
    <p:extLst>
      <p:ext uri="{BB962C8B-B14F-4D97-AF65-F5344CB8AC3E}">
        <p14:creationId xmlns:p14="http://schemas.microsoft.com/office/powerpoint/2010/main" val="521070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/>
              <a:t>Ypp 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33A794-414C-21BE-F476-D60B5A0EF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7D2D8C-059F-0B32-00FD-052B00F9E1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204" y="1098000"/>
            <a:ext cx="9259592" cy="546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4491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803FEC-5DF7-0529-6ED2-52A96570C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92EF474-E4E7-0D34-E4C7-C268FC1DF3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2015"/>
            <a:ext cx="12192000" cy="544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6052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1CEC6803-3F3D-5BCD-FF7D-A0B99BDC9C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7331" y="1744680"/>
            <a:ext cx="9260720" cy="329737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1E8930D-6FF9-345F-897E-1233FDD53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EDE5BCF1-1909-8393-7F57-C00DD025AEF4}"/>
              </a:ext>
            </a:extLst>
          </p:cNvPr>
          <p:cNvSpPr/>
          <p:nvPr/>
        </p:nvSpPr>
        <p:spPr>
          <a:xfrm>
            <a:off x="8404428" y="2905498"/>
            <a:ext cx="1962581" cy="412306"/>
          </a:xfrm>
          <a:prstGeom prst="borderCallout1">
            <a:avLst>
              <a:gd name="adj1" fmla="val 94452"/>
              <a:gd name="adj2" fmla="val 51344"/>
              <a:gd name="adj3" fmla="val 173531"/>
              <a:gd name="adj4" fmla="val 41048"/>
            </a:avLst>
          </a:prstGeom>
          <a:noFill/>
          <a:ln w="38100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4E93824-1CF6-2998-F79F-3FA6D34114AA}"/>
              </a:ext>
            </a:extLst>
          </p:cNvPr>
          <p:cNvSpPr/>
          <p:nvPr/>
        </p:nvSpPr>
        <p:spPr>
          <a:xfrm>
            <a:off x="13874743" y="-861282"/>
            <a:ext cx="459233" cy="45719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46B40477-F617-87B6-0802-ABBF4C2486AB}"/>
              </a:ext>
            </a:extLst>
          </p:cNvPr>
          <p:cNvSpPr/>
          <p:nvPr/>
        </p:nvSpPr>
        <p:spPr>
          <a:xfrm>
            <a:off x="5726105" y="3255762"/>
            <a:ext cx="1128459" cy="1352423"/>
          </a:xfrm>
          <a:prstGeom prst="borderCallout1">
            <a:avLst>
              <a:gd name="adj1" fmla="val 1271"/>
              <a:gd name="adj2" fmla="val 50499"/>
              <a:gd name="adj3" fmla="val -23029"/>
              <a:gd name="adj4" fmla="val 50519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4F159EE9-4993-F8EF-670D-B98A4C758580}"/>
              </a:ext>
            </a:extLst>
          </p:cNvPr>
          <p:cNvSpPr/>
          <p:nvPr/>
        </p:nvSpPr>
        <p:spPr>
          <a:xfrm>
            <a:off x="2590159" y="4088177"/>
            <a:ext cx="4444592" cy="381000"/>
          </a:xfrm>
          <a:prstGeom prst="borderCallout1">
            <a:avLst>
              <a:gd name="adj1" fmla="val 56110"/>
              <a:gd name="adj2" fmla="val 100037"/>
              <a:gd name="adj3" fmla="val 55338"/>
              <a:gd name="adj4" fmla="val 112101"/>
            </a:avLst>
          </a:prstGeom>
          <a:noFill/>
          <a:ln w="38100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D32E5A5-78D7-E76C-D760-1EFE178334B1}"/>
              </a:ext>
            </a:extLst>
          </p:cNvPr>
          <p:cNvSpPr/>
          <p:nvPr/>
        </p:nvSpPr>
        <p:spPr>
          <a:xfrm>
            <a:off x="5793412" y="4129631"/>
            <a:ext cx="989715" cy="299162"/>
          </a:xfrm>
          <a:prstGeom prst="roundRect">
            <a:avLst/>
          </a:prstGeom>
          <a:solidFill>
            <a:srgbClr val="3366FF">
              <a:alpha val="2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F848FE8-507E-714C-29F3-BAF4532B7C69}"/>
              </a:ext>
            </a:extLst>
          </p:cNvPr>
          <p:cNvCxnSpPr>
            <a:cxnSpLocks/>
            <a:stCxn id="12" idx="2"/>
          </p:cNvCxnSpPr>
          <p:nvPr/>
        </p:nvCxnSpPr>
        <p:spPr>
          <a:xfrm flipH="1">
            <a:off x="6273540" y="4428793"/>
            <a:ext cx="14730" cy="381000"/>
          </a:xfrm>
          <a:prstGeom prst="straightConnector1">
            <a:avLst/>
          </a:prstGeom>
          <a:ln w="38100">
            <a:solidFill>
              <a:srgbClr val="0051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D539B15-B383-FD0E-8FC1-F97F6A35E1C6}"/>
              </a:ext>
            </a:extLst>
          </p:cNvPr>
          <p:cNvSpPr/>
          <p:nvPr/>
        </p:nvSpPr>
        <p:spPr>
          <a:xfrm>
            <a:off x="5287220" y="2652680"/>
            <a:ext cx="2500795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6ECD7DA-BB1F-EA01-E936-A6B0F4C839C5}"/>
              </a:ext>
            </a:extLst>
          </p:cNvPr>
          <p:cNvSpPr/>
          <p:nvPr/>
        </p:nvSpPr>
        <p:spPr>
          <a:xfrm>
            <a:off x="7624975" y="4236238"/>
            <a:ext cx="1301013" cy="303920"/>
          </a:xfrm>
          <a:prstGeom prst="roundRect">
            <a:avLst/>
          </a:prstGeom>
          <a:solidFill>
            <a:srgbClr val="FAD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Row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DA4A2B4-01C9-A408-3F39-AFC4AD6B8107}"/>
              </a:ext>
            </a:extLst>
          </p:cNvPr>
          <p:cNvSpPr/>
          <p:nvPr/>
        </p:nvSpPr>
        <p:spPr>
          <a:xfrm>
            <a:off x="5687430" y="4818826"/>
            <a:ext cx="1208183" cy="303920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CellValu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8DDDF27-E7A5-79C9-CCEA-841358B5CAC6}"/>
              </a:ext>
            </a:extLst>
          </p:cNvPr>
          <p:cNvSpPr/>
          <p:nvPr/>
        </p:nvSpPr>
        <p:spPr>
          <a:xfrm>
            <a:off x="8275482" y="3638032"/>
            <a:ext cx="1342149" cy="303920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View</a:t>
            </a:r>
          </a:p>
        </p:txBody>
      </p:sp>
      <p:sp>
        <p:nvSpPr>
          <p:cNvPr id="22" name="Callout: Line 21">
            <a:extLst>
              <a:ext uri="{FF2B5EF4-FFF2-40B4-BE49-F238E27FC236}">
                <a16:creationId xmlns:a16="http://schemas.microsoft.com/office/drawing/2014/main" id="{D0F13830-5F84-0F69-FB63-5B3A9198E889}"/>
              </a:ext>
            </a:extLst>
          </p:cNvPr>
          <p:cNvSpPr/>
          <p:nvPr/>
        </p:nvSpPr>
        <p:spPr>
          <a:xfrm>
            <a:off x="2497331" y="2148079"/>
            <a:ext cx="9260720" cy="3459971"/>
          </a:xfrm>
          <a:prstGeom prst="borderCallout1">
            <a:avLst>
              <a:gd name="adj1" fmla="val -308"/>
              <a:gd name="adj2" fmla="val 53918"/>
              <a:gd name="adj3" fmla="val -25432"/>
              <a:gd name="adj4" fmla="val 56655"/>
            </a:avLst>
          </a:prstGeom>
          <a:noFill/>
          <a:ln w="38100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39CE9A1-F37A-176F-63D1-F5309554E255}"/>
              </a:ext>
            </a:extLst>
          </p:cNvPr>
          <p:cNvSpPr/>
          <p:nvPr/>
        </p:nvSpPr>
        <p:spPr>
          <a:xfrm>
            <a:off x="7034751" y="962424"/>
            <a:ext cx="969043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2000" b="1">
                <a:solidFill>
                  <a:sysClr val="windowText" lastClr="000000"/>
                </a:solidFill>
              </a:rPr>
              <a:t>List</a:t>
            </a:r>
            <a:endParaRPr lang="en-US" b="1">
              <a:solidFill>
                <a:sysClr val="windowText" lastClr="000000"/>
              </a:solidFill>
            </a:endParaRPr>
          </a:p>
        </p:txBody>
      </p:sp>
      <p:sp>
        <p:nvSpPr>
          <p:cNvPr id="27" name="Callout: Line 26">
            <a:extLst>
              <a:ext uri="{FF2B5EF4-FFF2-40B4-BE49-F238E27FC236}">
                <a16:creationId xmlns:a16="http://schemas.microsoft.com/office/drawing/2014/main" id="{485F1829-DCCF-6C70-30EB-0C681FDF0698}"/>
              </a:ext>
            </a:extLst>
          </p:cNvPr>
          <p:cNvSpPr/>
          <p:nvPr/>
        </p:nvSpPr>
        <p:spPr>
          <a:xfrm>
            <a:off x="2590160" y="2781475"/>
            <a:ext cx="1527436" cy="412306"/>
          </a:xfrm>
          <a:prstGeom prst="borderCallout1">
            <a:avLst>
              <a:gd name="adj1" fmla="val 52869"/>
              <a:gd name="adj2" fmla="val 210"/>
              <a:gd name="adj3" fmla="val 53402"/>
              <a:gd name="adj4" fmla="val -35654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C7C1D4-6D1E-F816-EE8B-F5640217E125}"/>
              </a:ext>
            </a:extLst>
          </p:cNvPr>
          <p:cNvSpPr txBox="1"/>
          <p:nvPr/>
        </p:nvSpPr>
        <p:spPr>
          <a:xfrm>
            <a:off x="111719" y="2460344"/>
            <a:ext cx="1983583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800">
                <a:solidFill>
                  <a:sysClr val="windowText" lastClr="000000"/>
                </a:solidFill>
              </a:rPr>
              <a:t>List.ListName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WorkspaceId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Color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Icon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FavoriteList.Listi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36A016-C325-2A21-3D7E-77CB3B66A3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75162" y="2185164"/>
            <a:ext cx="1790950" cy="400106"/>
          </a:xfrm>
          <a:prstGeom prst="rect">
            <a:avLst/>
          </a:prstGeom>
        </p:spPr>
      </p:pic>
      <p:sp>
        <p:nvSpPr>
          <p:cNvPr id="5" name="Callout: Line 4">
            <a:extLst>
              <a:ext uri="{FF2B5EF4-FFF2-40B4-BE49-F238E27FC236}">
                <a16:creationId xmlns:a16="http://schemas.microsoft.com/office/drawing/2014/main" id="{816BC762-E5BC-8113-01E0-D99C0E85348B}"/>
              </a:ext>
            </a:extLst>
          </p:cNvPr>
          <p:cNvSpPr/>
          <p:nvPr/>
        </p:nvSpPr>
        <p:spPr>
          <a:xfrm>
            <a:off x="9965093" y="2214112"/>
            <a:ext cx="335903" cy="323814"/>
          </a:xfrm>
          <a:prstGeom prst="borderCallout1">
            <a:avLst>
              <a:gd name="adj1" fmla="val 52869"/>
              <a:gd name="adj2" fmla="val 210"/>
              <a:gd name="adj3" fmla="val -188642"/>
              <a:gd name="adj4" fmla="val -140331"/>
            </a:avLst>
          </a:prstGeom>
          <a:noFill/>
          <a:ln w="28575">
            <a:solidFill>
              <a:srgbClr val="F300D6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53D364E-BB9C-14A7-A088-52394366C9C0}"/>
              </a:ext>
            </a:extLst>
          </p:cNvPr>
          <p:cNvSpPr/>
          <p:nvPr/>
        </p:nvSpPr>
        <p:spPr>
          <a:xfrm>
            <a:off x="8882646" y="1254489"/>
            <a:ext cx="2500795" cy="303920"/>
          </a:xfrm>
          <a:prstGeom prst="roundRect">
            <a:avLst/>
          </a:prstGeom>
          <a:solidFill>
            <a:srgbClr val="F300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600" b="1">
                <a:solidFill>
                  <a:schemeClr val="bg1"/>
                </a:solidFill>
              </a:rPr>
              <a:t>ListMemberPermission</a:t>
            </a:r>
            <a:endParaRPr lang="en-US" sz="14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1012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2F4D9D-7226-8E11-9F2B-7402EDEF6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Vie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0D4DB2-BC16-D2C3-333C-E5EC054F52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612" y="1447524"/>
            <a:ext cx="5590768" cy="362833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AFD949-5FD5-14E6-36E5-3F5E2E78BD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098000"/>
            <a:ext cx="5458379" cy="525942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F426C0A6-8C68-D0F7-4274-F52988641F90}"/>
              </a:ext>
            </a:extLst>
          </p:cNvPr>
          <p:cNvSpPr/>
          <p:nvPr/>
        </p:nvSpPr>
        <p:spPr>
          <a:xfrm>
            <a:off x="432000" y="2862390"/>
            <a:ext cx="4317282" cy="636589"/>
          </a:xfrm>
          <a:prstGeom prst="borderCallout1">
            <a:avLst>
              <a:gd name="adj1" fmla="val 103246"/>
              <a:gd name="adj2" fmla="val 65824"/>
              <a:gd name="adj3" fmla="val 150080"/>
              <a:gd name="adj4" fmla="val 74115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13DD886-C1C1-1FA7-1F52-C6FAEF7C83E3}"/>
              </a:ext>
            </a:extLst>
          </p:cNvPr>
          <p:cNvSpPr/>
          <p:nvPr/>
        </p:nvSpPr>
        <p:spPr>
          <a:xfrm>
            <a:off x="3716510" y="3668668"/>
            <a:ext cx="122308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ViewType</a:t>
            </a:r>
          </a:p>
        </p:txBody>
      </p:sp>
      <p:sp>
        <p:nvSpPr>
          <p:cNvPr id="10" name="Callout: Line 9">
            <a:extLst>
              <a:ext uri="{FF2B5EF4-FFF2-40B4-BE49-F238E27FC236}">
                <a16:creationId xmlns:a16="http://schemas.microsoft.com/office/drawing/2014/main" id="{C542AB43-E84A-4E6A-B7C1-E8CC1693A5D5}"/>
              </a:ext>
            </a:extLst>
          </p:cNvPr>
          <p:cNvSpPr/>
          <p:nvPr/>
        </p:nvSpPr>
        <p:spPr>
          <a:xfrm>
            <a:off x="364455" y="1951101"/>
            <a:ext cx="5448516" cy="636589"/>
          </a:xfrm>
          <a:prstGeom prst="borderCallout1">
            <a:avLst>
              <a:gd name="adj1" fmla="val -820"/>
              <a:gd name="adj2" fmla="val 54149"/>
              <a:gd name="adj3" fmla="val -63915"/>
              <a:gd name="adj4" fmla="val 64325"/>
            </a:avLst>
          </a:prstGeom>
          <a:noFill/>
          <a:ln w="38100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0D25A27-A937-AA7F-320F-4FAAAB608FAF}"/>
              </a:ext>
            </a:extLst>
          </p:cNvPr>
          <p:cNvSpPr/>
          <p:nvPr/>
        </p:nvSpPr>
        <p:spPr>
          <a:xfrm>
            <a:off x="3895146" y="1357871"/>
            <a:ext cx="1111114" cy="303920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View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22505304-6062-3CAC-71D4-6944DF46F096}"/>
              </a:ext>
            </a:extLst>
          </p:cNvPr>
          <p:cNvSpPr/>
          <p:nvPr/>
        </p:nvSpPr>
        <p:spPr>
          <a:xfrm>
            <a:off x="6182768" y="2378201"/>
            <a:ext cx="4317282" cy="719562"/>
          </a:xfrm>
          <a:prstGeom prst="borderCallout1">
            <a:avLst>
              <a:gd name="adj1" fmla="val 70322"/>
              <a:gd name="adj2" fmla="val 123"/>
              <a:gd name="adj3" fmla="val 192929"/>
              <a:gd name="adj4" fmla="val -2767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9D4644DB-7F45-B5CE-39CC-EDA4EDD7290D}"/>
              </a:ext>
            </a:extLst>
          </p:cNvPr>
          <p:cNvSpPr/>
          <p:nvPr/>
        </p:nvSpPr>
        <p:spPr>
          <a:xfrm>
            <a:off x="431999" y="3695856"/>
            <a:ext cx="2236556" cy="736185"/>
          </a:xfrm>
          <a:prstGeom prst="borderCallout1">
            <a:avLst>
              <a:gd name="adj1" fmla="val 72828"/>
              <a:gd name="adj2" fmla="val 100033"/>
              <a:gd name="adj3" fmla="val 96848"/>
              <a:gd name="adj4" fmla="val 115834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125549C-590C-1B43-ADAE-9DC35B6A542B}"/>
              </a:ext>
            </a:extLst>
          </p:cNvPr>
          <p:cNvSpPr/>
          <p:nvPr/>
        </p:nvSpPr>
        <p:spPr>
          <a:xfrm>
            <a:off x="3104970" y="4280081"/>
            <a:ext cx="1327072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KeySet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665C5FB-6C2D-3A69-29D5-D3A1E097EE29}"/>
              </a:ext>
            </a:extLst>
          </p:cNvPr>
          <p:cNvSpPr/>
          <p:nvPr/>
        </p:nvSpPr>
        <p:spPr>
          <a:xfrm>
            <a:off x="6173726" y="4064388"/>
            <a:ext cx="2672972" cy="638241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C2F38E4-2B7E-3A3E-757A-0F4D4E97BAF3}"/>
              </a:ext>
            </a:extLst>
          </p:cNvPr>
          <p:cNvSpPr/>
          <p:nvPr/>
        </p:nvSpPr>
        <p:spPr>
          <a:xfrm>
            <a:off x="8846698" y="4058843"/>
            <a:ext cx="2672972" cy="638241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B98D73-8D7B-B8C8-A141-8B79500579C5}"/>
              </a:ext>
            </a:extLst>
          </p:cNvPr>
          <p:cNvSpPr/>
          <p:nvPr/>
        </p:nvSpPr>
        <p:spPr>
          <a:xfrm>
            <a:off x="6182768" y="3201436"/>
            <a:ext cx="4052914" cy="673325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14C41B0-E232-9C49-DD04-4EED8931D9FC}"/>
              </a:ext>
            </a:extLst>
          </p:cNvPr>
          <p:cNvSpPr txBox="1"/>
          <p:nvPr/>
        </p:nvSpPr>
        <p:spPr>
          <a:xfrm>
            <a:off x="299612" y="5165507"/>
            <a:ext cx="3052642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KeyName</a:t>
            </a:r>
          </a:p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ValueType </a:t>
            </a:r>
          </a:p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(e.x: Text. Number, Boolean,…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0F0A315-9A45-CBF1-E4B1-B7BEBE292A3A}"/>
              </a:ext>
            </a:extLst>
          </p:cNvPr>
          <p:cNvSpPr/>
          <p:nvPr/>
        </p:nvSpPr>
        <p:spPr>
          <a:xfrm>
            <a:off x="6173726" y="5097626"/>
            <a:ext cx="2672972" cy="638241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1BD1FD5-C643-9340-E279-53915D2A7760}"/>
              </a:ext>
            </a:extLst>
          </p:cNvPr>
          <p:cNvCxnSpPr/>
          <p:nvPr/>
        </p:nvCxnSpPr>
        <p:spPr>
          <a:xfrm>
            <a:off x="1082351" y="4432041"/>
            <a:ext cx="0" cy="733466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51C993F6-769D-2362-1A9D-7675167B8A73}"/>
              </a:ext>
            </a:extLst>
          </p:cNvPr>
          <p:cNvSpPr/>
          <p:nvPr/>
        </p:nvSpPr>
        <p:spPr>
          <a:xfrm>
            <a:off x="464989" y="4058843"/>
            <a:ext cx="326601" cy="273696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2E6D03E-81C0-D9CD-627B-AA5C020F08A4}"/>
              </a:ext>
            </a:extLst>
          </p:cNvPr>
          <p:cNvSpPr/>
          <p:nvPr/>
        </p:nvSpPr>
        <p:spPr>
          <a:xfrm>
            <a:off x="824580" y="4064388"/>
            <a:ext cx="1424098" cy="273696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9798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FFF97D-1AE5-C69B-0A4A-D004860A9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8DF569-C127-8075-08EA-5365FCDCA6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567" y="1395664"/>
            <a:ext cx="11160866" cy="488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3888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FCC6408-9846-E487-A58F-6AD01796A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ynamic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F2E77F-C19A-4D44-4E55-DAF0F79B13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7567" y="1342884"/>
            <a:ext cx="5417969" cy="4172231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D43171DC-F892-F22E-0971-AF8BDAB18E3D}"/>
              </a:ext>
            </a:extLst>
          </p:cNvPr>
          <p:cNvSpPr/>
          <p:nvPr/>
        </p:nvSpPr>
        <p:spPr>
          <a:xfrm>
            <a:off x="1620418" y="1813455"/>
            <a:ext cx="5268943" cy="2968236"/>
          </a:xfrm>
          <a:prstGeom prst="borderCallout1">
            <a:avLst>
              <a:gd name="adj1" fmla="val 92753"/>
              <a:gd name="adj2" fmla="val 99969"/>
              <a:gd name="adj3" fmla="val 92978"/>
              <a:gd name="adj4" fmla="val 11700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4B8F9F7-5754-C0E7-2D5E-FE0C17E85417}"/>
              </a:ext>
            </a:extLst>
          </p:cNvPr>
          <p:cNvSpPr/>
          <p:nvPr/>
        </p:nvSpPr>
        <p:spPr>
          <a:xfrm>
            <a:off x="4744618" y="1943240"/>
            <a:ext cx="1905000" cy="419100"/>
          </a:xfrm>
          <a:prstGeom prst="roundRect">
            <a:avLst/>
          </a:prstGeom>
          <a:noFill/>
          <a:ln w="38100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0AF8926-4E02-FB2C-C5CD-8BE246602C7B}"/>
              </a:ext>
            </a:extLst>
          </p:cNvPr>
          <p:cNvSpPr/>
          <p:nvPr/>
        </p:nvSpPr>
        <p:spPr>
          <a:xfrm>
            <a:off x="7764044" y="4364813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2DB4C9D-8A55-1523-B29A-56E8B423F7E3}"/>
              </a:ext>
            </a:extLst>
          </p:cNvPr>
          <p:cNvSpPr/>
          <p:nvPr/>
        </p:nvSpPr>
        <p:spPr>
          <a:xfrm>
            <a:off x="7133777" y="1943240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E9C02F0-1100-A107-EEA5-7A20F8D8743C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6649618" y="2095200"/>
            <a:ext cx="484159" cy="57590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2D94B8C-507C-5DF3-DB49-4A244A8EFD33}"/>
              </a:ext>
            </a:extLst>
          </p:cNvPr>
          <p:cNvSpPr/>
          <p:nvPr/>
        </p:nvSpPr>
        <p:spPr>
          <a:xfrm>
            <a:off x="4820818" y="2033617"/>
            <a:ext cx="723900" cy="238345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BBD9EF7-7062-DF2F-E49B-76C06DE1F564}"/>
              </a:ext>
            </a:extLst>
          </p:cNvPr>
          <p:cNvSpPr/>
          <p:nvPr/>
        </p:nvSpPr>
        <p:spPr>
          <a:xfrm>
            <a:off x="2210968" y="2795617"/>
            <a:ext cx="1600200" cy="947848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2F6C10B-06E5-97C4-9BAD-96AA9C4F588E}"/>
              </a:ext>
            </a:extLst>
          </p:cNvPr>
          <p:cNvSpPr/>
          <p:nvPr/>
        </p:nvSpPr>
        <p:spPr>
          <a:xfrm>
            <a:off x="2333176" y="3972065"/>
            <a:ext cx="1316067" cy="372415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3AB9A6B-E959-B7F4-BFA5-7C95E81B4E64}"/>
              </a:ext>
            </a:extLst>
          </p:cNvPr>
          <p:cNvCxnSpPr>
            <a:cxnSpLocks/>
          </p:cNvCxnSpPr>
          <p:nvPr/>
        </p:nvCxnSpPr>
        <p:spPr>
          <a:xfrm>
            <a:off x="5575489" y="2152790"/>
            <a:ext cx="1753550" cy="547467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8115B3FC-8C41-D7A9-8247-9B27F70B656E}"/>
              </a:ext>
            </a:extLst>
          </p:cNvPr>
          <p:cNvSpPr txBox="1"/>
          <p:nvPr/>
        </p:nvSpPr>
        <p:spPr>
          <a:xfrm>
            <a:off x="7284560" y="2540904"/>
            <a:ext cx="3559872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Icon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 DisplayName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CoverImg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DataDiscription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432C9F4-3C92-B208-EED3-28B819AB1C97}"/>
              </a:ext>
            </a:extLst>
          </p:cNvPr>
          <p:cNvCxnSpPr>
            <a:cxnSpLocks/>
          </p:cNvCxnSpPr>
          <p:nvPr/>
        </p:nvCxnSpPr>
        <p:spPr>
          <a:xfrm>
            <a:off x="3829743" y="3283884"/>
            <a:ext cx="3454817" cy="84671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D47F507-4C74-B435-FB29-6B66434467B3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3649243" y="3682419"/>
            <a:ext cx="3635317" cy="475854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7335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3F475D-06F7-93A5-6EC5-40AA1F121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8492410-0DFA-B1DF-52E3-0107A09F2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Dynamic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5A1CF9-AC4A-C752-2341-FB8A74643F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2652" y="1335746"/>
            <a:ext cx="2953162" cy="5325218"/>
          </a:xfrm>
          <a:prstGeom prst="rect">
            <a:avLst/>
          </a:prstGeom>
        </p:spPr>
      </p:pic>
      <p:sp>
        <p:nvSpPr>
          <p:cNvPr id="9" name="Callout: Line 8">
            <a:extLst>
              <a:ext uri="{FF2B5EF4-FFF2-40B4-BE49-F238E27FC236}">
                <a16:creationId xmlns:a16="http://schemas.microsoft.com/office/drawing/2014/main" id="{CA06D5E9-59BC-F953-F948-927E1B6B9BDF}"/>
              </a:ext>
            </a:extLst>
          </p:cNvPr>
          <p:cNvSpPr/>
          <p:nvPr/>
        </p:nvSpPr>
        <p:spPr>
          <a:xfrm>
            <a:off x="4218046" y="1260626"/>
            <a:ext cx="3189707" cy="4737120"/>
          </a:xfrm>
          <a:prstGeom prst="borderCallout1">
            <a:avLst>
              <a:gd name="adj1" fmla="val 7499"/>
              <a:gd name="adj2" fmla="val 99969"/>
              <a:gd name="adj3" fmla="val 7522"/>
              <a:gd name="adj4" fmla="val 12446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8308A66-84F3-D05E-6F9F-1777EE2B15E6}"/>
              </a:ext>
            </a:extLst>
          </p:cNvPr>
          <p:cNvSpPr/>
          <p:nvPr/>
        </p:nvSpPr>
        <p:spPr>
          <a:xfrm>
            <a:off x="8193776" y="1433097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7C4DDAA5-62A8-A100-B6BE-32EB0DA8F5DC}"/>
              </a:ext>
            </a:extLst>
          </p:cNvPr>
          <p:cNvSpPr/>
          <p:nvPr/>
        </p:nvSpPr>
        <p:spPr>
          <a:xfrm>
            <a:off x="4370447" y="2028446"/>
            <a:ext cx="2953162" cy="666750"/>
          </a:xfrm>
          <a:prstGeom prst="borderCallout1">
            <a:avLst>
              <a:gd name="adj1" fmla="val 51784"/>
              <a:gd name="adj2" fmla="val -339"/>
              <a:gd name="adj3" fmla="val 53236"/>
              <a:gd name="adj4" fmla="val -13900"/>
            </a:avLst>
          </a:prstGeom>
          <a:noFill/>
          <a:ln w="28575">
            <a:solidFill>
              <a:srgbClr val="92D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F238291B-3513-07BE-3764-3FA53A83FADA}"/>
              </a:ext>
            </a:extLst>
          </p:cNvPr>
          <p:cNvSpPr/>
          <p:nvPr/>
        </p:nvSpPr>
        <p:spPr>
          <a:xfrm>
            <a:off x="4370447" y="2721146"/>
            <a:ext cx="2953162" cy="881550"/>
          </a:xfrm>
          <a:prstGeom prst="borderCallout1">
            <a:avLst>
              <a:gd name="adj1" fmla="val 49972"/>
              <a:gd name="adj2" fmla="val -17"/>
              <a:gd name="adj3" fmla="val 48914"/>
              <a:gd name="adj4" fmla="val -13900"/>
            </a:avLst>
          </a:prstGeom>
          <a:noFill/>
          <a:ln w="28575">
            <a:solidFill>
              <a:srgbClr val="92D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" name="Callout: Line 3">
            <a:extLst>
              <a:ext uri="{FF2B5EF4-FFF2-40B4-BE49-F238E27FC236}">
                <a16:creationId xmlns:a16="http://schemas.microsoft.com/office/drawing/2014/main" id="{651C9063-7EA8-FB19-4F01-3D39F65E3491}"/>
              </a:ext>
            </a:extLst>
          </p:cNvPr>
          <p:cNvSpPr/>
          <p:nvPr/>
        </p:nvSpPr>
        <p:spPr>
          <a:xfrm>
            <a:off x="4372652" y="3730796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3236"/>
              <a:gd name="adj4" fmla="val 12350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C93FCB6-DB50-46AB-3461-F6ED8E81D261}"/>
              </a:ext>
            </a:extLst>
          </p:cNvPr>
          <p:cNvSpPr/>
          <p:nvPr/>
        </p:nvSpPr>
        <p:spPr>
          <a:xfrm>
            <a:off x="8070602" y="3874550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22A8FC-FB30-7BC6-D124-DA2D45025B6E}"/>
              </a:ext>
            </a:extLst>
          </p:cNvPr>
          <p:cNvSpPr txBox="1"/>
          <p:nvPr/>
        </p:nvSpPr>
        <p:spPr>
          <a:xfrm>
            <a:off x="297876" y="2192544"/>
            <a:ext cx="36861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rgbClr val="005D39"/>
                </a:solidFill>
              </a:rPr>
              <a:t>ListDynamicColumn.ColumnNa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2A52999-7854-B304-0D6F-617088335784}"/>
              </a:ext>
            </a:extLst>
          </p:cNvPr>
          <p:cNvSpPr txBox="1"/>
          <p:nvPr/>
        </p:nvSpPr>
        <p:spPr>
          <a:xfrm>
            <a:off x="222211" y="2992644"/>
            <a:ext cx="383750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rgbClr val="005D39"/>
                </a:solidFill>
              </a:rPr>
              <a:t>ListDynamicColumn.ColumnDescrip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C316AE-A50C-B604-D767-74B0ACD2CBB5}"/>
              </a:ext>
            </a:extLst>
          </p:cNvPr>
          <p:cNvSpPr txBox="1"/>
          <p:nvPr/>
        </p:nvSpPr>
        <p:spPr>
          <a:xfrm>
            <a:off x="9193203" y="1768194"/>
            <a:ext cx="235849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B7E6083-013D-B28F-B8E6-4CDE063E89DA}"/>
              </a:ext>
            </a:extLst>
          </p:cNvPr>
          <p:cNvSpPr txBox="1"/>
          <p:nvPr/>
        </p:nvSpPr>
        <p:spPr>
          <a:xfrm>
            <a:off x="9154452" y="3426876"/>
            <a:ext cx="235849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F7ADEEE-34CA-4078-BBE3-BC7C548D38F7}"/>
              </a:ext>
            </a:extLst>
          </p:cNvPr>
          <p:cNvCxnSpPr/>
          <p:nvPr/>
        </p:nvCxnSpPr>
        <p:spPr>
          <a:xfrm>
            <a:off x="9077325" y="1819275"/>
            <a:ext cx="0" cy="1911521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64365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EA6A65C-C867-102A-19F4-16D4D5B3F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Dynamic Colum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4AB9FE-EC16-7994-698D-405C68245D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49" y="942599"/>
            <a:ext cx="3000794" cy="5391902"/>
          </a:xfrm>
          <a:prstGeom prst="rect">
            <a:avLst/>
          </a:prstGeom>
        </p:spPr>
      </p:pic>
      <p:sp>
        <p:nvSpPr>
          <p:cNvPr id="9" name="Callout: Line 8">
            <a:extLst>
              <a:ext uri="{FF2B5EF4-FFF2-40B4-BE49-F238E27FC236}">
                <a16:creationId xmlns:a16="http://schemas.microsoft.com/office/drawing/2014/main" id="{13EADC98-E6F3-CCED-6CA0-0621E196CE0D}"/>
              </a:ext>
            </a:extLst>
          </p:cNvPr>
          <p:cNvSpPr/>
          <p:nvPr/>
        </p:nvSpPr>
        <p:spPr>
          <a:xfrm>
            <a:off x="277393" y="1022879"/>
            <a:ext cx="3189707" cy="5391901"/>
          </a:xfrm>
          <a:prstGeom prst="borderCallout1">
            <a:avLst>
              <a:gd name="adj1" fmla="val 3966"/>
              <a:gd name="adj2" fmla="val 100268"/>
              <a:gd name="adj3" fmla="val 3812"/>
              <a:gd name="adj4" fmla="val 124767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0708882-9EDF-07E9-3C2F-D9E1FD8D981A}"/>
              </a:ext>
            </a:extLst>
          </p:cNvPr>
          <p:cNvSpPr/>
          <p:nvPr/>
        </p:nvSpPr>
        <p:spPr>
          <a:xfrm>
            <a:off x="4338848" y="1022879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E301D0E3-1530-BA65-07DF-6CBF3551A6EF}"/>
              </a:ext>
            </a:extLst>
          </p:cNvPr>
          <p:cNvSpPr/>
          <p:nvPr/>
        </p:nvSpPr>
        <p:spPr>
          <a:xfrm>
            <a:off x="408847" y="1368248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1631"/>
              <a:gd name="adj4" fmla="val 127693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980C9E9-1045-79B3-94D0-82D67097BCB7}"/>
              </a:ext>
            </a:extLst>
          </p:cNvPr>
          <p:cNvSpPr/>
          <p:nvPr/>
        </p:nvSpPr>
        <p:spPr>
          <a:xfrm>
            <a:off x="4338848" y="1512002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D5B5ECB-6C18-7064-D795-4999E22AF5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6519" y="1326799"/>
            <a:ext cx="2772162" cy="3391373"/>
          </a:xfrm>
          <a:prstGeom prst="rect">
            <a:avLst/>
          </a:prstGeom>
        </p:spPr>
      </p:pic>
      <p:sp>
        <p:nvSpPr>
          <p:cNvPr id="17" name="Callout: Line 16">
            <a:extLst>
              <a:ext uri="{FF2B5EF4-FFF2-40B4-BE49-F238E27FC236}">
                <a16:creationId xmlns:a16="http://schemas.microsoft.com/office/drawing/2014/main" id="{4A745591-DF72-A3C8-4934-C90A9E26B7E5}"/>
              </a:ext>
            </a:extLst>
          </p:cNvPr>
          <p:cNvSpPr/>
          <p:nvPr/>
        </p:nvSpPr>
        <p:spPr>
          <a:xfrm>
            <a:off x="7896019" y="1415874"/>
            <a:ext cx="2953162" cy="593174"/>
          </a:xfrm>
          <a:prstGeom prst="borderCallout1">
            <a:avLst>
              <a:gd name="adj1" fmla="val 43662"/>
              <a:gd name="adj2" fmla="val 306"/>
              <a:gd name="adj3" fmla="val 42080"/>
              <a:gd name="adj4" fmla="val -3938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E66ABC58-57F1-DCA6-9EC9-A74E4128B739}"/>
              </a:ext>
            </a:extLst>
          </p:cNvPr>
          <p:cNvSpPr/>
          <p:nvPr/>
        </p:nvSpPr>
        <p:spPr>
          <a:xfrm>
            <a:off x="408847" y="3517641"/>
            <a:ext cx="2953162" cy="655190"/>
          </a:xfrm>
          <a:prstGeom prst="borderCallout1">
            <a:avLst>
              <a:gd name="adj1" fmla="val 63664"/>
              <a:gd name="adj2" fmla="val 100305"/>
              <a:gd name="adj3" fmla="val 123613"/>
              <a:gd name="adj4" fmla="val 146142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FD6D465-E14C-20AA-9515-532A358347D0}"/>
              </a:ext>
            </a:extLst>
          </p:cNvPr>
          <p:cNvSpPr/>
          <p:nvPr/>
        </p:nvSpPr>
        <p:spPr>
          <a:xfrm>
            <a:off x="4790671" y="4172830"/>
            <a:ext cx="1535908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KeySetting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51103AE-3EDE-876A-47CE-A36861E580E2}"/>
              </a:ext>
            </a:extLst>
          </p:cNvPr>
          <p:cNvSpPr/>
          <p:nvPr/>
        </p:nvSpPr>
        <p:spPr>
          <a:xfrm>
            <a:off x="4622486" y="2826866"/>
            <a:ext cx="1872277" cy="3039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DataSettingK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ED546C6-AAE2-0987-76DC-7A02EE4A0564}"/>
              </a:ext>
            </a:extLst>
          </p:cNvPr>
          <p:cNvCxnSpPr/>
          <p:nvPr/>
        </p:nvCxnSpPr>
        <p:spPr>
          <a:xfrm>
            <a:off x="5491373" y="1815922"/>
            <a:ext cx="0" cy="10109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8680F96-ACDB-FD31-C996-12681D755E00}"/>
              </a:ext>
            </a:extLst>
          </p:cNvPr>
          <p:cNvCxnSpPr/>
          <p:nvPr/>
        </p:nvCxnSpPr>
        <p:spPr>
          <a:xfrm>
            <a:off x="5491373" y="3133078"/>
            <a:ext cx="0" cy="10109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8495A6E-0723-CB1C-0F97-603A6C8CFEB0}"/>
              </a:ext>
            </a:extLst>
          </p:cNvPr>
          <p:cNvSpPr txBox="1"/>
          <p:nvPr/>
        </p:nvSpPr>
        <p:spPr>
          <a:xfrm>
            <a:off x="5579374" y="1797182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D2F7CBD-4D5F-D422-F09A-94F4B0F7D33E}"/>
              </a:ext>
            </a:extLst>
          </p:cNvPr>
          <p:cNvSpPr txBox="1"/>
          <p:nvPr/>
        </p:nvSpPr>
        <p:spPr>
          <a:xfrm>
            <a:off x="5584339" y="3837810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29A80FC-C818-7F56-7289-7C9EA63FFBD0}"/>
              </a:ext>
            </a:extLst>
          </p:cNvPr>
          <p:cNvSpPr txBox="1"/>
          <p:nvPr/>
        </p:nvSpPr>
        <p:spPr>
          <a:xfrm>
            <a:off x="5584512" y="3113063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03FDD3D-9EF5-E035-C0EC-4B41218D5F31}"/>
              </a:ext>
            </a:extLst>
          </p:cNvPr>
          <p:cNvSpPr txBox="1"/>
          <p:nvPr/>
        </p:nvSpPr>
        <p:spPr>
          <a:xfrm>
            <a:off x="5584339" y="2470604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30" name="Callout: Line 29">
            <a:extLst>
              <a:ext uri="{FF2B5EF4-FFF2-40B4-BE49-F238E27FC236}">
                <a16:creationId xmlns:a16="http://schemas.microsoft.com/office/drawing/2014/main" id="{7E99F476-4F0F-F078-E810-BEE69715AAAA}"/>
              </a:ext>
            </a:extLst>
          </p:cNvPr>
          <p:cNvSpPr/>
          <p:nvPr/>
        </p:nvSpPr>
        <p:spPr>
          <a:xfrm>
            <a:off x="7986518" y="4313171"/>
            <a:ext cx="2768979" cy="305482"/>
          </a:xfrm>
          <a:prstGeom prst="borderCallout1">
            <a:avLst>
              <a:gd name="adj1" fmla="val 97755"/>
              <a:gd name="adj2" fmla="val 2920"/>
              <a:gd name="adj3" fmla="val 236151"/>
              <a:gd name="adj4" fmla="val 2332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9CB279C-C8F3-D5B2-2E2E-D5C0626CBAB6}"/>
              </a:ext>
            </a:extLst>
          </p:cNvPr>
          <p:cNvSpPr txBox="1"/>
          <p:nvPr/>
        </p:nvSpPr>
        <p:spPr>
          <a:xfrm>
            <a:off x="6968679" y="5010256"/>
            <a:ext cx="5156646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KeyName</a:t>
            </a:r>
          </a:p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ValueType (e.x: Text. Number, Boolean,…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6AFD719-1D79-782E-9A74-B42727CCCC4A}"/>
              </a:ext>
            </a:extLst>
          </p:cNvPr>
          <p:cNvSpPr/>
          <p:nvPr/>
        </p:nvSpPr>
        <p:spPr>
          <a:xfrm>
            <a:off x="395665" y="4253111"/>
            <a:ext cx="2953162" cy="655190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F6730B-7F46-40D5-FC44-A93DAB4E45E3}"/>
              </a:ext>
            </a:extLst>
          </p:cNvPr>
          <p:cNvSpPr/>
          <p:nvPr/>
        </p:nvSpPr>
        <p:spPr>
          <a:xfrm>
            <a:off x="371849" y="4999587"/>
            <a:ext cx="2953162" cy="490165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929E48-352D-3273-62EF-F486E888E5BE}"/>
              </a:ext>
            </a:extLst>
          </p:cNvPr>
          <p:cNvSpPr/>
          <p:nvPr/>
        </p:nvSpPr>
        <p:spPr>
          <a:xfrm>
            <a:off x="371849" y="2651231"/>
            <a:ext cx="2953162" cy="33307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741A0C-8B8A-1816-218F-837BC303616A}"/>
              </a:ext>
            </a:extLst>
          </p:cNvPr>
          <p:cNvSpPr/>
          <p:nvPr/>
        </p:nvSpPr>
        <p:spPr>
          <a:xfrm>
            <a:off x="361002" y="2079225"/>
            <a:ext cx="2953162" cy="572006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70595-155F-CF28-D0B9-9BC239CB6FCE}"/>
              </a:ext>
            </a:extLst>
          </p:cNvPr>
          <p:cNvSpPr/>
          <p:nvPr/>
        </p:nvSpPr>
        <p:spPr>
          <a:xfrm>
            <a:off x="7986519" y="2143009"/>
            <a:ext cx="2768979" cy="563124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1477EF4-E142-26BA-92EF-36D091A4116B}"/>
              </a:ext>
            </a:extLst>
          </p:cNvPr>
          <p:cNvSpPr/>
          <p:nvPr/>
        </p:nvSpPr>
        <p:spPr>
          <a:xfrm>
            <a:off x="7986519" y="3022485"/>
            <a:ext cx="2768978" cy="655190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B96B132-E99E-822E-2A73-8C7E00346333}"/>
              </a:ext>
            </a:extLst>
          </p:cNvPr>
          <p:cNvSpPr/>
          <p:nvPr/>
        </p:nvSpPr>
        <p:spPr>
          <a:xfrm>
            <a:off x="7986519" y="3657981"/>
            <a:ext cx="2768977" cy="655190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1636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94601-3E3C-9D84-971B-C062627ADB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8A1020-ECF9-2A8C-D6B9-4798C31A7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302551" cy="1098000"/>
          </a:xfrm>
        </p:spPr>
        <p:txBody>
          <a:bodyPr/>
          <a:lstStyle/>
          <a:p>
            <a:r>
              <a:rPr lang="en-US"/>
              <a:t>DataTypeSettingKey</a:t>
            </a:r>
          </a:p>
        </p:txBody>
      </p:sp>
      <p:sp>
        <p:nvSpPr>
          <p:cNvPr id="9" name="Callout: Line 8">
            <a:extLst>
              <a:ext uri="{FF2B5EF4-FFF2-40B4-BE49-F238E27FC236}">
                <a16:creationId xmlns:a16="http://schemas.microsoft.com/office/drawing/2014/main" id="{FE17FC91-2B99-1FF3-D528-9F9DE807C0D0}"/>
              </a:ext>
            </a:extLst>
          </p:cNvPr>
          <p:cNvSpPr/>
          <p:nvPr/>
        </p:nvSpPr>
        <p:spPr>
          <a:xfrm>
            <a:off x="2038112" y="1140861"/>
            <a:ext cx="3638550" cy="5391901"/>
          </a:xfrm>
          <a:prstGeom prst="borderCallout1">
            <a:avLst>
              <a:gd name="adj1" fmla="val 3966"/>
              <a:gd name="adj2" fmla="val 100268"/>
              <a:gd name="adj3" fmla="val 3989"/>
              <a:gd name="adj4" fmla="val 11900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1F7FC6-AB0C-5898-6825-38979B460B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4100" y="1238585"/>
            <a:ext cx="2943636" cy="4363059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DFE1755-CA03-0027-AC70-2FADD6166E49}"/>
              </a:ext>
            </a:extLst>
          </p:cNvPr>
          <p:cNvSpPr/>
          <p:nvPr/>
        </p:nvSpPr>
        <p:spPr>
          <a:xfrm>
            <a:off x="6505783" y="1214825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D995BBD9-75DF-6126-3D50-354419186ECF}"/>
              </a:ext>
            </a:extLst>
          </p:cNvPr>
          <p:cNvSpPr/>
          <p:nvPr/>
        </p:nvSpPr>
        <p:spPr>
          <a:xfrm>
            <a:off x="2314574" y="3557668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1631"/>
              <a:gd name="adj4" fmla="val 12350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8B91124B-1F20-663C-7D27-0C56555A399F}"/>
              </a:ext>
            </a:extLst>
          </p:cNvPr>
          <p:cNvSpPr/>
          <p:nvPr/>
        </p:nvSpPr>
        <p:spPr>
          <a:xfrm>
            <a:off x="2315353" y="4187631"/>
            <a:ext cx="2943636" cy="622629"/>
          </a:xfrm>
          <a:prstGeom prst="borderCallout1">
            <a:avLst>
              <a:gd name="adj1" fmla="val 63400"/>
              <a:gd name="adj2" fmla="val 100937"/>
              <a:gd name="adj3" fmla="val 62484"/>
              <a:gd name="adj4" fmla="val 124744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4DAEA6F-52A3-A7D5-A03E-3AE102060B9D}"/>
              </a:ext>
            </a:extLst>
          </p:cNvPr>
          <p:cNvSpPr txBox="1"/>
          <p:nvPr/>
        </p:nvSpPr>
        <p:spPr>
          <a:xfrm>
            <a:off x="7520398" y="2012888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/>
          </a:p>
        </p:txBody>
      </p:sp>
      <p:sp>
        <p:nvSpPr>
          <p:cNvPr id="5" name="Callout: Line 4">
            <a:extLst>
              <a:ext uri="{FF2B5EF4-FFF2-40B4-BE49-F238E27FC236}">
                <a16:creationId xmlns:a16="http://schemas.microsoft.com/office/drawing/2014/main" id="{30E8C8BA-F9BF-1AEE-18BC-25401DEC3EB8}"/>
              </a:ext>
            </a:extLst>
          </p:cNvPr>
          <p:cNvSpPr/>
          <p:nvPr/>
        </p:nvSpPr>
        <p:spPr>
          <a:xfrm>
            <a:off x="2145535" y="3463731"/>
            <a:ext cx="3283271" cy="1666875"/>
          </a:xfrm>
          <a:prstGeom prst="borderCallout1">
            <a:avLst>
              <a:gd name="adj1" fmla="val 91378"/>
              <a:gd name="adj2" fmla="val 99777"/>
              <a:gd name="adj3" fmla="val 110990"/>
              <a:gd name="adj4" fmla="val 121039"/>
            </a:avLst>
          </a:prstGeom>
          <a:noFill/>
          <a:ln w="28575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4243570-AFF8-826D-24EF-DE01CE90288C}"/>
              </a:ext>
            </a:extLst>
          </p:cNvPr>
          <p:cNvSpPr/>
          <p:nvPr/>
        </p:nvSpPr>
        <p:spPr>
          <a:xfrm>
            <a:off x="6277834" y="5177302"/>
            <a:ext cx="1872277" cy="3039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DataSettingKey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998B2D92-B7DE-CDAF-3C9B-77FA2292E49F}"/>
              </a:ext>
            </a:extLst>
          </p:cNvPr>
          <p:cNvSpPr/>
          <p:nvPr/>
        </p:nvSpPr>
        <p:spPr>
          <a:xfrm>
            <a:off x="2409845" y="4522990"/>
            <a:ext cx="998029" cy="207008"/>
          </a:xfrm>
          <a:prstGeom prst="borderCallout1">
            <a:avLst>
              <a:gd name="adj1" fmla="val 109808"/>
              <a:gd name="adj2" fmla="val 82307"/>
              <a:gd name="adj3" fmla="val 522510"/>
              <a:gd name="adj4" fmla="val 81780"/>
            </a:avLst>
          </a:prstGeom>
          <a:noFill/>
          <a:ln w="28575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839FB7A-C9F0-CD05-50B2-938416B40789}"/>
              </a:ext>
            </a:extLst>
          </p:cNvPr>
          <p:cNvSpPr txBox="1"/>
          <p:nvPr/>
        </p:nvSpPr>
        <p:spPr>
          <a:xfrm>
            <a:off x="2183076" y="5566138"/>
            <a:ext cx="339663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/>
              <a:t>DynamicColumnSettingValue</a:t>
            </a:r>
            <a:r>
              <a:rPr lang="en-US" sz="1600">
                <a:solidFill>
                  <a:sysClr val="windowText" lastClr="000000"/>
                </a:solidFill>
              </a:rPr>
              <a:t>.</a:t>
            </a:r>
            <a:r>
              <a:rPr lang="en-US" sz="1600"/>
              <a:t> KeyValue</a:t>
            </a:r>
            <a:endParaRPr lang="en-US" sz="160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11EC157-7509-BB3D-6DFD-E76178D978A4}"/>
              </a:ext>
            </a:extLst>
          </p:cNvPr>
          <p:cNvSpPr txBox="1"/>
          <p:nvPr/>
        </p:nvSpPr>
        <p:spPr>
          <a:xfrm>
            <a:off x="6096000" y="3667534"/>
            <a:ext cx="34480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ysClr val="windowText" lastClr="000000"/>
                </a:solidFill>
              </a:rPr>
              <a:t>DataSettingKey.SystemDataTyp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7778952-95C0-5397-680D-BA730C302713}"/>
              </a:ext>
            </a:extLst>
          </p:cNvPr>
          <p:cNvSpPr txBox="1"/>
          <p:nvPr/>
        </p:nvSpPr>
        <p:spPr>
          <a:xfrm>
            <a:off x="6096000" y="4391444"/>
            <a:ext cx="34480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ysClr val="windowText" lastClr="000000"/>
                </a:solidFill>
              </a:rPr>
              <a:t>DataSettingKey.KeySetting</a:t>
            </a:r>
          </a:p>
        </p:txBody>
      </p:sp>
    </p:spTree>
    <p:extLst>
      <p:ext uri="{BB962C8B-B14F-4D97-AF65-F5344CB8AC3E}">
        <p14:creationId xmlns:p14="http://schemas.microsoft.com/office/powerpoint/2010/main" val="42231685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64F365-71BD-E1A7-9CDE-267207911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E7CB43-8BEF-8411-12A7-AF1CFE4CF1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429" y="2295242"/>
            <a:ext cx="4716454" cy="3600733"/>
          </a:xfrm>
          <a:prstGeom prst="rect">
            <a:avLst/>
          </a:prstGeom>
        </p:spPr>
      </p:pic>
      <p:sp>
        <p:nvSpPr>
          <p:cNvPr id="7" name="Callout: Line 6">
            <a:extLst>
              <a:ext uri="{FF2B5EF4-FFF2-40B4-BE49-F238E27FC236}">
                <a16:creationId xmlns:a16="http://schemas.microsoft.com/office/drawing/2014/main" id="{7C96CA48-B8E8-ECD6-036E-7F067F4343B5}"/>
              </a:ext>
            </a:extLst>
          </p:cNvPr>
          <p:cNvSpPr/>
          <p:nvPr/>
        </p:nvSpPr>
        <p:spPr>
          <a:xfrm>
            <a:off x="431999" y="5369544"/>
            <a:ext cx="1863526" cy="412306"/>
          </a:xfrm>
          <a:prstGeom prst="borderCallout1">
            <a:avLst>
              <a:gd name="adj1" fmla="val -265"/>
              <a:gd name="adj2" fmla="val 97324"/>
              <a:gd name="adj3" fmla="val -89828"/>
              <a:gd name="adj4" fmla="val 433051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1C4FC9B-9C99-FEFE-761D-495A85128B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19913" y="1098000"/>
            <a:ext cx="2848373" cy="5306165"/>
          </a:xfrm>
          <a:prstGeom prst="rect">
            <a:avLst/>
          </a:prstGeom>
          <a:ln>
            <a:solidFill>
              <a:srgbClr val="00B050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20D34B6-0853-D4B7-7933-AAC53639D487}"/>
              </a:ext>
            </a:extLst>
          </p:cNvPr>
          <p:cNvSpPr txBox="1"/>
          <p:nvPr/>
        </p:nvSpPr>
        <p:spPr>
          <a:xfrm>
            <a:off x="304429" y="1247017"/>
            <a:ext cx="71913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Each list will have default columns based on system columns, and these columns can be hidden depending on the view.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2E0F64F8-BFAC-BF0E-DCA4-1F5287A1B59A}"/>
              </a:ext>
            </a:extLst>
          </p:cNvPr>
          <p:cNvSpPr/>
          <p:nvPr/>
        </p:nvSpPr>
        <p:spPr>
          <a:xfrm>
            <a:off x="8834239" y="3036795"/>
            <a:ext cx="290711" cy="278782"/>
          </a:xfrm>
          <a:prstGeom prst="borderCallout1">
            <a:avLst>
              <a:gd name="adj1" fmla="val 57489"/>
              <a:gd name="adj2" fmla="val 210"/>
              <a:gd name="adj3" fmla="val 117699"/>
              <a:gd name="adj4" fmla="val -282348"/>
            </a:avLst>
          </a:prstGeom>
          <a:noFill/>
          <a:ln w="19050">
            <a:solidFill>
              <a:srgbClr val="005194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324D83-125C-47AF-77EA-A04DBE23C49C}"/>
              </a:ext>
            </a:extLst>
          </p:cNvPr>
          <p:cNvSpPr txBox="1"/>
          <p:nvPr/>
        </p:nvSpPr>
        <p:spPr>
          <a:xfrm>
            <a:off x="5612425" y="3306890"/>
            <a:ext cx="2098468" cy="104412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0070C0"/>
                </a:solidFill>
              </a:rPr>
              <a:t>ListDynamicColumn.Name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337D61"/>
                </a:solidFill>
              </a:rPr>
              <a:t>ListViewColumn.IsVisible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337D61"/>
                </a:solidFill>
              </a:rPr>
              <a:t>ListViewColumn. DisplayOrder</a:t>
            </a:r>
            <a:endParaRPr lang="en-US" sz="1400" dirty="0" err="1">
              <a:solidFill>
                <a:srgbClr val="337D61"/>
              </a:solidFill>
            </a:endParaRP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59E971D1-92AC-0475-AA55-77B984B37533}"/>
              </a:ext>
            </a:extLst>
          </p:cNvPr>
          <p:cNvSpPr/>
          <p:nvPr/>
        </p:nvSpPr>
        <p:spPr>
          <a:xfrm>
            <a:off x="8514954" y="1098000"/>
            <a:ext cx="2848372" cy="5306165"/>
          </a:xfrm>
          <a:prstGeom prst="borderCallout1">
            <a:avLst>
              <a:gd name="adj1" fmla="val 17027"/>
              <a:gd name="adj2" fmla="val -191"/>
              <a:gd name="adj3" fmla="val 17006"/>
              <a:gd name="adj4" fmla="val -16663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F290BDBC-853F-696E-0206-607CB448C1D7}"/>
              </a:ext>
            </a:extLst>
          </p:cNvPr>
          <p:cNvSpPr/>
          <p:nvPr/>
        </p:nvSpPr>
        <p:spPr>
          <a:xfrm>
            <a:off x="10544175" y="3351960"/>
            <a:ext cx="660789" cy="278782"/>
          </a:xfrm>
          <a:prstGeom prst="borderCallout1">
            <a:avLst>
              <a:gd name="adj1" fmla="val 101905"/>
              <a:gd name="adj2" fmla="val 210"/>
              <a:gd name="adj3" fmla="val 257781"/>
              <a:gd name="adj4" fmla="val -338838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1A0B635F-74E7-A0EC-550C-457C78214AD7}"/>
              </a:ext>
            </a:extLst>
          </p:cNvPr>
          <p:cNvSpPr/>
          <p:nvPr/>
        </p:nvSpPr>
        <p:spPr>
          <a:xfrm>
            <a:off x="8572104" y="3695700"/>
            <a:ext cx="262136" cy="232874"/>
          </a:xfrm>
          <a:prstGeom prst="borderCallout1">
            <a:avLst>
              <a:gd name="adj1" fmla="val 28040"/>
              <a:gd name="adj2" fmla="val 4570"/>
              <a:gd name="adj3" fmla="val 31156"/>
              <a:gd name="adj4" fmla="val -258300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DD2C0F3-B386-72F8-DF70-5211216CA2DA}"/>
              </a:ext>
            </a:extLst>
          </p:cNvPr>
          <p:cNvSpPr/>
          <p:nvPr/>
        </p:nvSpPr>
        <p:spPr>
          <a:xfrm>
            <a:off x="5906911" y="1942335"/>
            <a:ext cx="2098468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ViewColumn</a:t>
            </a:r>
          </a:p>
        </p:txBody>
      </p:sp>
    </p:spTree>
    <p:extLst>
      <p:ext uri="{BB962C8B-B14F-4D97-AF65-F5344CB8AC3E}">
        <p14:creationId xmlns:p14="http://schemas.microsoft.com/office/powerpoint/2010/main" val="36942689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esentation on MS Lists Functionalities</a:t>
            </a:r>
            <a:endParaRPr lang="en-GB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298839-8175-5C1E-D96E-4709561C7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88E355-1F4F-0B93-9B69-60E2E8D8A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524" y="1524863"/>
            <a:ext cx="3483178" cy="19041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D0877F-D2B1-20DF-0FB2-73BEF0A81B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3813" y="1524864"/>
            <a:ext cx="3473144" cy="19041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4C201DD-1794-EDE3-9FDD-88CB78CF8C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9068" y="1622248"/>
            <a:ext cx="4111290" cy="202669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A28C97C-C210-D46D-F711-39FCBE6B94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524" y="4180473"/>
            <a:ext cx="6098854" cy="182395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CF481B8-4DC9-F589-17BB-1DA7338C2E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79277" y="4128017"/>
            <a:ext cx="4542993" cy="192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660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843A9-8015-627C-CA17-146A1BB2BC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79E9E1E-4A24-C6F2-9A89-FF4B0AB3C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197901" cy="1098000"/>
          </a:xfrm>
        </p:spPr>
        <p:txBody>
          <a:bodyPr/>
          <a:lstStyle/>
          <a:p>
            <a:r>
              <a:rPr lang="en-US"/>
              <a:t>Flexible Column Displa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309B4B-0A5D-CBF8-534C-2EC5777F55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985" y="1705685"/>
            <a:ext cx="7621090" cy="18923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E40BFB3-1386-6D4E-4276-481634EF98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985" y="4206130"/>
            <a:ext cx="7690103" cy="208237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3A37FEC-E7C7-88FA-4648-C6ACAD9C4A92}"/>
              </a:ext>
            </a:extLst>
          </p:cNvPr>
          <p:cNvSpPr txBox="1"/>
          <p:nvPr/>
        </p:nvSpPr>
        <p:spPr>
          <a:xfrm>
            <a:off x="8357936" y="1705685"/>
            <a:ext cx="347107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Each view can customize which columns are visible and their order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E48108-6E3D-7D95-B2D1-16939A0D1739}"/>
              </a:ext>
            </a:extLst>
          </p:cNvPr>
          <p:cNvSpPr txBox="1"/>
          <p:nvPr/>
        </p:nvSpPr>
        <p:spPr>
          <a:xfrm>
            <a:off x="362985" y="1248485"/>
            <a:ext cx="1882910" cy="4318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View “All Items”</a:t>
            </a:r>
            <a:endParaRPr lang="en-US" dirty="0" err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4E51B4E-C437-BFC8-A511-8E64F68B7F06}"/>
              </a:ext>
            </a:extLst>
          </p:cNvPr>
          <p:cNvSpPr txBox="1"/>
          <p:nvPr/>
        </p:nvSpPr>
        <p:spPr>
          <a:xfrm>
            <a:off x="362985" y="3871369"/>
            <a:ext cx="188291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View “View List 2”</a:t>
            </a:r>
            <a:endParaRPr lang="en-US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8E76A6-3B56-CFC5-6730-0DD36D4D7FD0}"/>
              </a:ext>
            </a:extLst>
          </p:cNvPr>
          <p:cNvSpPr/>
          <p:nvPr/>
        </p:nvSpPr>
        <p:spPr>
          <a:xfrm>
            <a:off x="431998" y="1743022"/>
            <a:ext cx="1600002" cy="457200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199085-E4F7-40C8-85E2-B6F73CD36B4F}"/>
              </a:ext>
            </a:extLst>
          </p:cNvPr>
          <p:cNvSpPr/>
          <p:nvPr/>
        </p:nvSpPr>
        <p:spPr>
          <a:xfrm>
            <a:off x="431998" y="4303169"/>
            <a:ext cx="1600002" cy="457200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E6B4B41-EEC7-63C8-F14D-9F92247B7EFC}"/>
              </a:ext>
            </a:extLst>
          </p:cNvPr>
          <p:cNvSpPr/>
          <p:nvPr/>
        </p:nvSpPr>
        <p:spPr>
          <a:xfrm>
            <a:off x="362984" y="2275659"/>
            <a:ext cx="5885415" cy="1322396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5B71BC0-1FBC-9CAD-2C6C-B3FBD28A4986}"/>
              </a:ext>
            </a:extLst>
          </p:cNvPr>
          <p:cNvSpPr/>
          <p:nvPr/>
        </p:nvSpPr>
        <p:spPr>
          <a:xfrm>
            <a:off x="431999" y="4854494"/>
            <a:ext cx="3466902" cy="1322396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5AF3E6-02E9-AD3A-1BC1-50A1063A3F2C}"/>
              </a:ext>
            </a:extLst>
          </p:cNvPr>
          <p:cNvSpPr txBox="1"/>
          <p:nvPr/>
        </p:nvSpPr>
        <p:spPr>
          <a:xfrm>
            <a:off x="546100" y="24892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 err="1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40710FE-C5EA-91BB-CB4F-3FFFBB282A6A}"/>
              </a:ext>
            </a:extLst>
          </p:cNvPr>
          <p:cNvSpPr/>
          <p:nvPr/>
        </p:nvSpPr>
        <p:spPr>
          <a:xfrm>
            <a:off x="742950" y="2397620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1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210790E-137A-DFD2-1D08-AFA27FB5EE07}"/>
              </a:ext>
            </a:extLst>
          </p:cNvPr>
          <p:cNvSpPr/>
          <p:nvPr/>
        </p:nvSpPr>
        <p:spPr>
          <a:xfrm>
            <a:off x="1990725" y="2397620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2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C7A8A9F-0219-E983-C94A-5CBC64371E54}"/>
              </a:ext>
            </a:extLst>
          </p:cNvPr>
          <p:cNvSpPr/>
          <p:nvPr/>
        </p:nvSpPr>
        <p:spPr>
          <a:xfrm>
            <a:off x="4772025" y="2397619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3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9A5CC9CF-246C-9F68-3491-E860E069D4FE}"/>
              </a:ext>
            </a:extLst>
          </p:cNvPr>
          <p:cNvSpPr/>
          <p:nvPr/>
        </p:nvSpPr>
        <p:spPr>
          <a:xfrm>
            <a:off x="717550" y="4943385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1</a:t>
            </a:r>
            <a:endParaRPr lang="en-US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9169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84D439-879A-541C-5274-A9667454C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D352642-711B-582F-4A08-70A07C3F23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409" y="845978"/>
            <a:ext cx="10341182" cy="572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1500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B380950-AFA9-1237-FAD6-CCE9FDAF92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9FBC20-995B-24CF-F280-4228299D4E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8919" y="698473"/>
            <a:ext cx="3134162" cy="577295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Callout: Line 11">
            <a:extLst>
              <a:ext uri="{FF2B5EF4-FFF2-40B4-BE49-F238E27FC236}">
                <a16:creationId xmlns:a16="http://schemas.microsoft.com/office/drawing/2014/main" id="{296287D2-463D-55F1-29B0-3B781050795D}"/>
              </a:ext>
            </a:extLst>
          </p:cNvPr>
          <p:cNvSpPr/>
          <p:nvPr/>
        </p:nvSpPr>
        <p:spPr>
          <a:xfrm>
            <a:off x="4619419" y="3277040"/>
            <a:ext cx="2953162" cy="593175"/>
          </a:xfrm>
          <a:prstGeom prst="borderCallout1">
            <a:avLst>
              <a:gd name="adj1" fmla="val 55354"/>
              <a:gd name="adj2" fmla="val 91"/>
              <a:gd name="adj3" fmla="val 51095"/>
              <a:gd name="adj4" fmla="val -17986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BA56D3D-A021-5CC4-0988-7C990252CFCA}"/>
              </a:ext>
            </a:extLst>
          </p:cNvPr>
          <p:cNvSpPr/>
          <p:nvPr/>
        </p:nvSpPr>
        <p:spPr>
          <a:xfrm>
            <a:off x="1690383" y="3432991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:a16="http://schemas.microsoft.com/office/drawing/2014/main" id="{CFC096AD-E7BA-8D17-D111-2111A6551DBD}"/>
              </a:ext>
            </a:extLst>
          </p:cNvPr>
          <p:cNvSpPr/>
          <p:nvPr/>
        </p:nvSpPr>
        <p:spPr>
          <a:xfrm>
            <a:off x="4619419" y="3972536"/>
            <a:ext cx="2953162" cy="2060404"/>
          </a:xfrm>
          <a:prstGeom prst="borderCallout1">
            <a:avLst>
              <a:gd name="adj1" fmla="val 19312"/>
              <a:gd name="adj2" fmla="val 99432"/>
              <a:gd name="adj3" fmla="val -5320"/>
              <a:gd name="adj4" fmla="val 115329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65BC7F7-4569-9A5D-AE30-46771CA108B6}"/>
              </a:ext>
            </a:extLst>
          </p:cNvPr>
          <p:cNvSpPr/>
          <p:nvPr/>
        </p:nvSpPr>
        <p:spPr>
          <a:xfrm>
            <a:off x="7961734" y="3497541"/>
            <a:ext cx="2324100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ColumnChoice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7FC1E3D7-067D-3BF1-54F9-B854271C8F60}"/>
              </a:ext>
            </a:extLst>
          </p:cNvPr>
          <p:cNvSpPr/>
          <p:nvPr/>
        </p:nvSpPr>
        <p:spPr>
          <a:xfrm>
            <a:off x="4771819" y="4248150"/>
            <a:ext cx="1200356" cy="390525"/>
          </a:xfrm>
          <a:prstGeom prst="borderCallout1">
            <a:avLst>
              <a:gd name="adj1" fmla="val 72970"/>
              <a:gd name="adj2" fmla="val 101019"/>
              <a:gd name="adj3" fmla="val 104436"/>
              <a:gd name="adj4" fmla="val 263716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0A7115-621D-30B1-CC6B-3C31CB8A0C2F}"/>
              </a:ext>
            </a:extLst>
          </p:cNvPr>
          <p:cNvSpPr txBox="1"/>
          <p:nvPr/>
        </p:nvSpPr>
        <p:spPr>
          <a:xfrm>
            <a:off x="7815481" y="4294227"/>
            <a:ext cx="35097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rgbClr val="005D39"/>
                </a:solidFill>
              </a:rPr>
              <a:t>ListColumnChoice.ChoiceValue</a:t>
            </a:r>
          </a:p>
          <a:p>
            <a:r>
              <a:rPr lang="en-US">
                <a:solidFill>
                  <a:srgbClr val="005D39"/>
                </a:solidFill>
              </a:rPr>
              <a:t>ListColumnChoice.Color</a:t>
            </a:r>
          </a:p>
          <a:p>
            <a:r>
              <a:rPr lang="en-US">
                <a:solidFill>
                  <a:srgbClr val="005D39"/>
                </a:solidFill>
              </a:rPr>
              <a:t>ListColumnChoice.DisplayOrd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BDEF974-9544-0287-73BC-40BAC121D754}"/>
              </a:ext>
            </a:extLst>
          </p:cNvPr>
          <p:cNvSpPr/>
          <p:nvPr/>
        </p:nvSpPr>
        <p:spPr>
          <a:xfrm>
            <a:off x="4771819" y="4719026"/>
            <a:ext cx="12003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50A0BE-7EBA-B2CA-41C0-99201531ECB5}"/>
              </a:ext>
            </a:extLst>
          </p:cNvPr>
          <p:cNvSpPr/>
          <p:nvPr/>
        </p:nvSpPr>
        <p:spPr>
          <a:xfrm>
            <a:off x="4771819" y="5133533"/>
            <a:ext cx="12003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7753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846630-8A06-5E73-4AED-D967A0C33D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FDC7CD-BFA2-993B-9C74-3BE4F9EACA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440056-AB34-EC7F-8A78-F5125ECE91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14" y="1536883"/>
            <a:ext cx="11090972" cy="35381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CD908A-E7F8-3EDD-D790-90B5CCAC82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4219" y="1488890"/>
            <a:ext cx="1799967" cy="3573463"/>
          </a:xfrm>
          <a:prstGeom prst="rect">
            <a:avLst/>
          </a:prstGeom>
        </p:spPr>
      </p:pic>
      <p:sp>
        <p:nvSpPr>
          <p:cNvPr id="10" name="Callout: Line 9">
            <a:extLst>
              <a:ext uri="{FF2B5EF4-FFF2-40B4-BE49-F238E27FC236}">
                <a16:creationId xmlns:a16="http://schemas.microsoft.com/office/drawing/2014/main" id="{60B4E770-366C-F23F-FC20-74682F7F8D7A}"/>
              </a:ext>
            </a:extLst>
          </p:cNvPr>
          <p:cNvSpPr/>
          <p:nvPr/>
        </p:nvSpPr>
        <p:spPr>
          <a:xfrm>
            <a:off x="8229394" y="3429000"/>
            <a:ext cx="1314656" cy="403896"/>
          </a:xfrm>
          <a:prstGeom prst="borderCallout1">
            <a:avLst>
              <a:gd name="adj1" fmla="val 45253"/>
              <a:gd name="adj2" fmla="val 172"/>
              <a:gd name="adj3" fmla="val 37129"/>
              <a:gd name="adj4" fmla="val -73047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CF69524-2914-8222-782A-6A8E4A64D84F}"/>
              </a:ext>
            </a:extLst>
          </p:cNvPr>
          <p:cNvSpPr/>
          <p:nvPr/>
        </p:nvSpPr>
        <p:spPr>
          <a:xfrm>
            <a:off x="4828009" y="3478988"/>
            <a:ext cx="2324100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ColumnChoic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18BDC6-E192-2F92-B719-737ABCBF64AD}"/>
              </a:ext>
            </a:extLst>
          </p:cNvPr>
          <p:cNvSpPr/>
          <p:nvPr/>
        </p:nvSpPr>
        <p:spPr>
          <a:xfrm>
            <a:off x="8229394" y="3909401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CC88B8-A54D-FD2B-44C5-9F7F14E4E597}"/>
              </a:ext>
            </a:extLst>
          </p:cNvPr>
          <p:cNvSpPr/>
          <p:nvPr/>
        </p:nvSpPr>
        <p:spPr>
          <a:xfrm>
            <a:off x="8229394" y="4452936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69A28FB9-6C9C-CACB-753A-CB8DD7BAD780}"/>
              </a:ext>
            </a:extLst>
          </p:cNvPr>
          <p:cNvSpPr/>
          <p:nvPr/>
        </p:nvSpPr>
        <p:spPr>
          <a:xfrm>
            <a:off x="8041551" y="1536882"/>
            <a:ext cx="1799967" cy="3435167"/>
          </a:xfrm>
          <a:prstGeom prst="borderCallout1">
            <a:avLst>
              <a:gd name="adj1" fmla="val 5879"/>
              <a:gd name="adj2" fmla="val 712"/>
              <a:gd name="adj3" fmla="val -3908"/>
              <a:gd name="adj4" fmla="val -50131"/>
            </a:avLst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D2AE308-F9A6-5EDF-201A-BF2EFE4F6B5C}"/>
              </a:ext>
            </a:extLst>
          </p:cNvPr>
          <p:cNvSpPr/>
          <p:nvPr/>
        </p:nvSpPr>
        <p:spPr>
          <a:xfrm>
            <a:off x="4162425" y="1173565"/>
            <a:ext cx="2903959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.Id = 1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8DA00E33-187E-9375-6533-592F397BC1E6}"/>
              </a:ext>
            </a:extLst>
          </p:cNvPr>
          <p:cNvSpPr/>
          <p:nvPr/>
        </p:nvSpPr>
        <p:spPr>
          <a:xfrm>
            <a:off x="9878638" y="1536883"/>
            <a:ext cx="1799967" cy="3435167"/>
          </a:xfrm>
          <a:prstGeom prst="borderCallout1">
            <a:avLst>
              <a:gd name="adj1" fmla="val 56"/>
              <a:gd name="adj2" fmla="val 17116"/>
              <a:gd name="adj3" fmla="val -8067"/>
              <a:gd name="adj4" fmla="val 8078"/>
            </a:avLst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8B181DB-F5BB-040C-FA3B-FF5CCBE82546}"/>
              </a:ext>
            </a:extLst>
          </p:cNvPr>
          <p:cNvSpPr/>
          <p:nvPr/>
        </p:nvSpPr>
        <p:spPr>
          <a:xfrm>
            <a:off x="8620125" y="869645"/>
            <a:ext cx="2903959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.Id = 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BD40A10-2D48-C96C-D94E-68DD5715DFB4}"/>
              </a:ext>
            </a:extLst>
          </p:cNvPr>
          <p:cNvSpPr/>
          <p:nvPr/>
        </p:nvSpPr>
        <p:spPr>
          <a:xfrm>
            <a:off x="10029361" y="3392383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255FE5C-0473-2526-D540-E7EEB03B764D}"/>
              </a:ext>
            </a:extLst>
          </p:cNvPr>
          <p:cNvSpPr/>
          <p:nvPr/>
        </p:nvSpPr>
        <p:spPr>
          <a:xfrm>
            <a:off x="10038886" y="3909401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D0FB2D3-ED5A-D20A-09D4-23FBDDB0091F}"/>
              </a:ext>
            </a:extLst>
          </p:cNvPr>
          <p:cNvSpPr/>
          <p:nvPr/>
        </p:nvSpPr>
        <p:spPr>
          <a:xfrm>
            <a:off x="10029361" y="4419988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89C0236-E8FE-6C47-F787-03F65BB12C80}"/>
              </a:ext>
            </a:extLst>
          </p:cNvPr>
          <p:cNvSpPr txBox="1"/>
          <p:nvPr/>
        </p:nvSpPr>
        <p:spPr>
          <a:xfrm>
            <a:off x="431999" y="5315103"/>
            <a:ext cx="69725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=&gt; Each choice belongs to exactly one ListDynamicColumn (Id).</a:t>
            </a:r>
          </a:p>
        </p:txBody>
      </p:sp>
    </p:spTree>
    <p:extLst>
      <p:ext uri="{BB962C8B-B14F-4D97-AF65-F5344CB8AC3E}">
        <p14:creationId xmlns:p14="http://schemas.microsoft.com/office/powerpoint/2010/main" val="16570381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39B19B3-AF83-1C81-4D32-795943E4E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38A873-7686-9F94-7087-CBFCF16357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7472" y="1126575"/>
            <a:ext cx="2848373" cy="442974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2C2308-1A7E-94C3-2B17-EB9C748D81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6500" y="1098000"/>
            <a:ext cx="2876951" cy="5334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55DBF2B-230C-7275-A8AA-E457491E4B2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715" t="1080" r="9798" b="50000"/>
          <a:stretch>
            <a:fillRect/>
          </a:stretch>
        </p:blipFill>
        <p:spPr>
          <a:xfrm>
            <a:off x="518122" y="3429000"/>
            <a:ext cx="2333625" cy="30384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Callout: Line 9">
            <a:extLst>
              <a:ext uri="{FF2B5EF4-FFF2-40B4-BE49-F238E27FC236}">
                <a16:creationId xmlns:a16="http://schemas.microsoft.com/office/drawing/2014/main" id="{1EEC34B9-2301-CA62-8F3E-E9951D607C20}"/>
              </a:ext>
            </a:extLst>
          </p:cNvPr>
          <p:cNvSpPr/>
          <p:nvPr/>
        </p:nvSpPr>
        <p:spPr>
          <a:xfrm>
            <a:off x="518122" y="3400424"/>
            <a:ext cx="2333625" cy="3067051"/>
          </a:xfrm>
          <a:prstGeom prst="borderCallout1">
            <a:avLst>
              <a:gd name="adj1" fmla="val -19"/>
              <a:gd name="adj2" fmla="val 21081"/>
              <a:gd name="adj3" fmla="val -14571"/>
              <a:gd name="adj4" fmla="val 17801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B65184-EDC7-15AC-9F8B-ADA05823D788}"/>
              </a:ext>
            </a:extLst>
          </p:cNvPr>
          <p:cNvSpPr/>
          <p:nvPr/>
        </p:nvSpPr>
        <p:spPr>
          <a:xfrm>
            <a:off x="2985296" y="4371976"/>
            <a:ext cx="2691603" cy="381000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D260F1D-B0B0-0AA7-638B-5CADA995B966}"/>
              </a:ext>
            </a:extLst>
          </p:cNvPr>
          <p:cNvSpPr/>
          <p:nvPr/>
        </p:nvSpPr>
        <p:spPr>
          <a:xfrm>
            <a:off x="2985296" y="5051184"/>
            <a:ext cx="2704900" cy="381000"/>
          </a:xfrm>
          <a:prstGeom prst="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3A353E65-080E-5201-E962-05B24B75EA16}"/>
              </a:ext>
            </a:extLst>
          </p:cNvPr>
          <p:cNvSpPr/>
          <p:nvPr/>
        </p:nvSpPr>
        <p:spPr>
          <a:xfrm>
            <a:off x="8577069" y="3314699"/>
            <a:ext cx="2462406" cy="304801"/>
          </a:xfrm>
          <a:prstGeom prst="borderCallout1">
            <a:avLst>
              <a:gd name="adj1" fmla="val 42481"/>
              <a:gd name="adj2" fmla="val -552"/>
              <a:gd name="adj3" fmla="val 37304"/>
              <a:gd name="adj4" fmla="val -21917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418B73D-3B17-234B-95EC-EC01B914ECD5}"/>
              </a:ext>
            </a:extLst>
          </p:cNvPr>
          <p:cNvSpPr/>
          <p:nvPr/>
        </p:nvSpPr>
        <p:spPr>
          <a:xfrm>
            <a:off x="8577069" y="3774898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26A207A-707E-CC50-15C6-2F7EC99CB995}"/>
              </a:ext>
            </a:extLst>
          </p:cNvPr>
          <p:cNvSpPr/>
          <p:nvPr/>
        </p:nvSpPr>
        <p:spPr>
          <a:xfrm>
            <a:off x="8577069" y="4219575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73B83CB-E03A-EEA0-A2FB-FBB06D6669C4}"/>
              </a:ext>
            </a:extLst>
          </p:cNvPr>
          <p:cNvSpPr/>
          <p:nvPr/>
        </p:nvSpPr>
        <p:spPr>
          <a:xfrm>
            <a:off x="8577069" y="4667251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295B90-B167-8086-617D-BCF7848BFAC3}"/>
              </a:ext>
            </a:extLst>
          </p:cNvPr>
          <p:cNvSpPr/>
          <p:nvPr/>
        </p:nvSpPr>
        <p:spPr>
          <a:xfrm>
            <a:off x="8577069" y="5133977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863CD1D-5CA6-B15C-55C0-1264D01DF5B8}"/>
              </a:ext>
            </a:extLst>
          </p:cNvPr>
          <p:cNvSpPr/>
          <p:nvPr/>
        </p:nvSpPr>
        <p:spPr>
          <a:xfrm>
            <a:off x="8577069" y="5600703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5095928-8722-FDAA-07B5-3307D147D355}"/>
              </a:ext>
            </a:extLst>
          </p:cNvPr>
          <p:cNvSpPr/>
          <p:nvPr/>
        </p:nvSpPr>
        <p:spPr>
          <a:xfrm>
            <a:off x="8577069" y="6045298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2" name="Callout: Line 21">
            <a:extLst>
              <a:ext uri="{FF2B5EF4-FFF2-40B4-BE49-F238E27FC236}">
                <a16:creationId xmlns:a16="http://schemas.microsoft.com/office/drawing/2014/main" id="{3B82CE65-4FA8-FD61-A800-AB6A20132627}"/>
              </a:ext>
            </a:extLst>
          </p:cNvPr>
          <p:cNvSpPr/>
          <p:nvPr/>
        </p:nvSpPr>
        <p:spPr>
          <a:xfrm>
            <a:off x="8577069" y="2096810"/>
            <a:ext cx="2671956" cy="304801"/>
          </a:xfrm>
          <a:prstGeom prst="borderCallout1">
            <a:avLst>
              <a:gd name="adj1" fmla="val 42481"/>
              <a:gd name="adj2" fmla="val -552"/>
              <a:gd name="adj3" fmla="val 37304"/>
              <a:gd name="adj4" fmla="val -21917"/>
            </a:avLst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11758FE-9DB8-A877-4006-16368D6B81A9}"/>
              </a:ext>
            </a:extLst>
          </p:cNvPr>
          <p:cNvSpPr/>
          <p:nvPr/>
        </p:nvSpPr>
        <p:spPr>
          <a:xfrm>
            <a:off x="518122" y="2578705"/>
            <a:ext cx="605828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327C5D7-8A6E-DB0B-0F54-4FDD7D133512}"/>
              </a:ext>
            </a:extLst>
          </p:cNvPr>
          <p:cNvSpPr/>
          <p:nvPr/>
        </p:nvSpPr>
        <p:spPr>
          <a:xfrm>
            <a:off x="6406157" y="1857375"/>
            <a:ext cx="1496124" cy="53126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DynamicColum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A911CB-A1E9-0D1F-BA8D-D06D89B378A9}"/>
              </a:ext>
            </a:extLst>
          </p:cNvPr>
          <p:cNvSpPr txBox="1"/>
          <p:nvPr/>
        </p:nvSpPr>
        <p:spPr>
          <a:xfrm>
            <a:off x="5800527" y="5051184"/>
            <a:ext cx="23619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tx2">
                    <a:lumMod val="60000"/>
                    <a:lumOff val="40000"/>
                  </a:schemeClr>
                </a:solidFill>
              </a:rPr>
              <a:t>ListDynamicColumn.</a:t>
            </a:r>
            <a:r>
              <a:rPr lang="en-US" sz="1400" b="1">
                <a:solidFill>
                  <a:srgbClr val="00B050"/>
                </a:solidFill>
              </a:rPr>
              <a:t>ListI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E607AC-8226-93F9-14AB-DD1407F21792}"/>
              </a:ext>
            </a:extLst>
          </p:cNvPr>
          <p:cNvSpPr txBox="1"/>
          <p:nvPr/>
        </p:nvSpPr>
        <p:spPr>
          <a:xfrm>
            <a:off x="5800527" y="4413648"/>
            <a:ext cx="7202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rgbClr val="00B050"/>
                </a:solidFill>
              </a:rPr>
              <a:t>ListId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FE53CB5-D2C7-7CA1-0F0A-2556C061414F}"/>
              </a:ext>
            </a:extLst>
          </p:cNvPr>
          <p:cNvCxnSpPr>
            <a:cxnSpLocks/>
            <a:stCxn id="27" idx="2"/>
          </p:cNvCxnSpPr>
          <p:nvPr/>
        </p:nvCxnSpPr>
        <p:spPr>
          <a:xfrm>
            <a:off x="6160666" y="4721425"/>
            <a:ext cx="1545059" cy="329759"/>
          </a:xfrm>
          <a:prstGeom prst="straightConnector1">
            <a:avLst/>
          </a:prstGeom>
          <a:ln w="952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33AE4BBA-EAF8-2094-3C59-7BA782167DD0}"/>
              </a:ext>
            </a:extLst>
          </p:cNvPr>
          <p:cNvSpPr txBox="1"/>
          <p:nvPr/>
        </p:nvSpPr>
        <p:spPr>
          <a:xfrm>
            <a:off x="5990076" y="3032118"/>
            <a:ext cx="23619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rgbClr val="FF0000"/>
                </a:solidFill>
              </a:rPr>
              <a:t>ListDynamicColumn</a:t>
            </a:r>
            <a:r>
              <a:rPr lang="en-US" sz="1400">
                <a:solidFill>
                  <a:schemeClr val="tx2">
                    <a:lumMod val="60000"/>
                    <a:lumOff val="40000"/>
                  </a:schemeClr>
                </a:solidFill>
              </a:rPr>
              <a:t>.</a:t>
            </a:r>
            <a:r>
              <a:rPr lang="en-US" sz="1400" b="1">
                <a:solidFill>
                  <a:srgbClr val="00B050"/>
                </a:solidFill>
              </a:rPr>
              <a:t>ListId</a:t>
            </a:r>
          </a:p>
        </p:txBody>
      </p:sp>
    </p:spTree>
    <p:extLst>
      <p:ext uri="{BB962C8B-B14F-4D97-AF65-F5344CB8AC3E}">
        <p14:creationId xmlns:p14="http://schemas.microsoft.com/office/powerpoint/2010/main" val="2347669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23C01E-0693-AE7C-EF89-9149F1D8D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ColumnLookUpMa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72364A-4090-EB1D-94CC-FE97B45823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191017"/>
            <a:ext cx="5362311" cy="2654255"/>
          </a:xfrm>
          <a:prstGeom prst="rect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BA8FB50-8290-40E4-AB44-B98DD370AC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4155939"/>
            <a:ext cx="8287907" cy="244826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6282BE5-A62F-0A6E-32DC-0EDAB496B9EE}"/>
              </a:ext>
            </a:extLst>
          </p:cNvPr>
          <p:cNvSpPr/>
          <p:nvPr/>
        </p:nvSpPr>
        <p:spPr>
          <a:xfrm>
            <a:off x="835364" y="1761380"/>
            <a:ext cx="1413314" cy="2083892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F131F5-32DD-22DE-D687-791875A143E2}"/>
              </a:ext>
            </a:extLst>
          </p:cNvPr>
          <p:cNvSpPr/>
          <p:nvPr/>
        </p:nvSpPr>
        <p:spPr>
          <a:xfrm>
            <a:off x="3806889" y="4767943"/>
            <a:ext cx="1206760" cy="1822831"/>
          </a:xfrm>
          <a:prstGeom prst="rect">
            <a:avLst/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94B3F1-F120-1CFC-6A70-BDCDF39468C6}"/>
              </a:ext>
            </a:extLst>
          </p:cNvPr>
          <p:cNvSpPr/>
          <p:nvPr/>
        </p:nvSpPr>
        <p:spPr>
          <a:xfrm>
            <a:off x="3299286" y="1761380"/>
            <a:ext cx="1188738" cy="2083892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2F4D61-70FC-9732-D086-B8C9029FA283}"/>
              </a:ext>
            </a:extLst>
          </p:cNvPr>
          <p:cNvSpPr/>
          <p:nvPr/>
        </p:nvSpPr>
        <p:spPr>
          <a:xfrm>
            <a:off x="4546798" y="1761380"/>
            <a:ext cx="1188738" cy="2083892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D30D9B9-A44A-A3BC-F9B6-53AB31643BE4}"/>
              </a:ext>
            </a:extLst>
          </p:cNvPr>
          <p:cNvSpPr/>
          <p:nvPr/>
        </p:nvSpPr>
        <p:spPr>
          <a:xfrm>
            <a:off x="5104162" y="4777273"/>
            <a:ext cx="1352621" cy="1822831"/>
          </a:xfrm>
          <a:prstGeom prst="rect">
            <a:avLst/>
          </a:prstGeom>
          <a:noFill/>
          <a:ln w="28575">
            <a:solidFill>
              <a:srgbClr val="0070C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EF16C0-8C84-0C2E-8F0B-BC8C6DF1812E}"/>
              </a:ext>
            </a:extLst>
          </p:cNvPr>
          <p:cNvSpPr/>
          <p:nvPr/>
        </p:nvSpPr>
        <p:spPr>
          <a:xfrm>
            <a:off x="6609183" y="4781375"/>
            <a:ext cx="1545772" cy="1822831"/>
          </a:xfrm>
          <a:prstGeom prst="rect">
            <a:avLst/>
          </a:prstGeom>
          <a:noFill/>
          <a:ln w="28575">
            <a:solidFill>
              <a:srgbClr val="0070C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464ED99-2EE6-AFDE-A2CD-5756E82356F8}"/>
              </a:ext>
            </a:extLst>
          </p:cNvPr>
          <p:cNvSpPr/>
          <p:nvPr/>
        </p:nvSpPr>
        <p:spPr>
          <a:xfrm>
            <a:off x="2093921" y="1364443"/>
            <a:ext cx="1964895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ourceColumn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F6096F6-3583-272A-CF2D-60D47E44FCC3}"/>
              </a:ext>
            </a:extLst>
          </p:cNvPr>
          <p:cNvSpPr/>
          <p:nvPr/>
        </p:nvSpPr>
        <p:spPr>
          <a:xfrm>
            <a:off x="3589712" y="4371888"/>
            <a:ext cx="1641114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argetColum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3BB5558-0C4D-982A-0CE2-309AD85D23D1}"/>
              </a:ext>
            </a:extLst>
          </p:cNvPr>
          <p:cNvSpPr/>
          <p:nvPr/>
        </p:nvSpPr>
        <p:spPr>
          <a:xfrm>
            <a:off x="5473800" y="4239933"/>
            <a:ext cx="5362310" cy="44924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ColumnLookUpMap.IsAdditionalColumn = tru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664340E-0CE6-B3A1-86E1-0184A426A513}"/>
              </a:ext>
            </a:extLst>
          </p:cNvPr>
          <p:cNvSpPr/>
          <p:nvPr/>
        </p:nvSpPr>
        <p:spPr>
          <a:xfrm>
            <a:off x="5166049" y="4878262"/>
            <a:ext cx="1225420" cy="268586"/>
          </a:xfrm>
          <a:prstGeom prst="rect">
            <a:avLst/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533512-6E29-AB0F-5234-57B57D512FA0}"/>
              </a:ext>
            </a:extLst>
          </p:cNvPr>
          <p:cNvSpPr/>
          <p:nvPr/>
        </p:nvSpPr>
        <p:spPr>
          <a:xfrm>
            <a:off x="6743476" y="4861063"/>
            <a:ext cx="1225420" cy="268586"/>
          </a:xfrm>
          <a:prstGeom prst="rect">
            <a:avLst/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7513AB1-DFA7-ED4F-9879-32DEC6B33A2E}"/>
              </a:ext>
            </a:extLst>
          </p:cNvPr>
          <p:cNvSpPr/>
          <p:nvPr/>
        </p:nvSpPr>
        <p:spPr>
          <a:xfrm>
            <a:off x="4410269" y="794080"/>
            <a:ext cx="1413315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ourceList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8DE8B43-6B9E-ED8E-8BB3-3864B5C7AB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1247" y="1886946"/>
            <a:ext cx="6115904" cy="81926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AD1A5151-3E94-195C-A3FF-E1D54E49BBAE}"/>
              </a:ext>
            </a:extLst>
          </p:cNvPr>
          <p:cNvSpPr txBox="1"/>
          <p:nvPr/>
        </p:nvSpPr>
        <p:spPr>
          <a:xfrm>
            <a:off x="6011247" y="1473567"/>
            <a:ext cx="6106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ysClr val="windowText" lastClr="000000"/>
                </a:solidFill>
              </a:rPr>
              <a:t>ListColumnLookUpMap example dat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9194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E034CF27-4CFC-E0F3-E419-020D4F0FF7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694" y="1088150"/>
            <a:ext cx="8698802" cy="480723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8A1BA4F-DA5D-890B-EB05-874FE4F53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Row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941BFF2F-2006-8A86-EE19-FE96B9D3FD90}"/>
              </a:ext>
            </a:extLst>
          </p:cNvPr>
          <p:cNvSpPr/>
          <p:nvPr/>
        </p:nvSpPr>
        <p:spPr>
          <a:xfrm>
            <a:off x="866356" y="1113925"/>
            <a:ext cx="1166790" cy="319910"/>
          </a:xfrm>
          <a:prstGeom prst="borderCallout1">
            <a:avLst>
              <a:gd name="adj1" fmla="val 40879"/>
              <a:gd name="adj2" fmla="val 100672"/>
              <a:gd name="adj3" fmla="val 36925"/>
              <a:gd name="adj4" fmla="val 134596"/>
            </a:avLst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D55A970-0EFF-89D6-B8CE-492409C458D8}"/>
              </a:ext>
            </a:extLst>
          </p:cNvPr>
          <p:cNvSpPr/>
          <p:nvPr/>
        </p:nvSpPr>
        <p:spPr>
          <a:xfrm>
            <a:off x="2445590" y="1174668"/>
            <a:ext cx="1034726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Row</a:t>
            </a:r>
          </a:p>
        </p:txBody>
      </p:sp>
      <p:sp>
        <p:nvSpPr>
          <p:cNvPr id="10" name="Callout: Line 9">
            <a:extLst>
              <a:ext uri="{FF2B5EF4-FFF2-40B4-BE49-F238E27FC236}">
                <a16:creationId xmlns:a16="http://schemas.microsoft.com/office/drawing/2014/main" id="{BD5543A2-E479-A2BA-A619-7289BC8EFCB8}"/>
              </a:ext>
            </a:extLst>
          </p:cNvPr>
          <p:cNvSpPr/>
          <p:nvPr/>
        </p:nvSpPr>
        <p:spPr>
          <a:xfrm>
            <a:off x="866356" y="4457486"/>
            <a:ext cx="5811196" cy="1351380"/>
          </a:xfrm>
          <a:prstGeom prst="borderCallout1">
            <a:avLst>
              <a:gd name="adj1" fmla="val 100425"/>
              <a:gd name="adj2" fmla="val 36502"/>
              <a:gd name="adj3" fmla="val 124326"/>
              <a:gd name="adj4" fmla="val 41567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CA9A021-1DA8-AA36-AB37-23B1FC53ADD7}"/>
              </a:ext>
            </a:extLst>
          </p:cNvPr>
          <p:cNvSpPr/>
          <p:nvPr/>
        </p:nvSpPr>
        <p:spPr>
          <a:xfrm>
            <a:off x="3349688" y="6144864"/>
            <a:ext cx="2268041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11422F-393E-78BF-90F9-B27A6B297CB0}"/>
              </a:ext>
            </a:extLst>
          </p:cNvPr>
          <p:cNvSpPr/>
          <p:nvPr/>
        </p:nvSpPr>
        <p:spPr>
          <a:xfrm>
            <a:off x="866356" y="3679432"/>
            <a:ext cx="5811196" cy="691537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1B1E62B-038C-BFE3-2D80-0D1B42E971B1}"/>
              </a:ext>
            </a:extLst>
          </p:cNvPr>
          <p:cNvSpPr/>
          <p:nvPr/>
        </p:nvSpPr>
        <p:spPr>
          <a:xfrm>
            <a:off x="866356" y="3022816"/>
            <a:ext cx="5811196" cy="611864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C332D3-0A8A-27E8-D384-9F6A8664A51C}"/>
              </a:ext>
            </a:extLst>
          </p:cNvPr>
          <p:cNvSpPr/>
          <p:nvPr/>
        </p:nvSpPr>
        <p:spPr>
          <a:xfrm>
            <a:off x="866356" y="1683316"/>
            <a:ext cx="5811196" cy="691537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B6342A4-F843-2C43-08F9-A3350A561FC4}"/>
              </a:ext>
            </a:extLst>
          </p:cNvPr>
          <p:cNvSpPr/>
          <p:nvPr/>
        </p:nvSpPr>
        <p:spPr>
          <a:xfrm>
            <a:off x="866356" y="2331279"/>
            <a:ext cx="5811196" cy="691537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Callout: Line 20">
            <a:extLst>
              <a:ext uri="{FF2B5EF4-FFF2-40B4-BE49-F238E27FC236}">
                <a16:creationId xmlns:a16="http://schemas.microsoft.com/office/drawing/2014/main" id="{F3E8AC4B-5DE6-94E3-2F39-0E2A8B8A2358}"/>
              </a:ext>
            </a:extLst>
          </p:cNvPr>
          <p:cNvSpPr/>
          <p:nvPr/>
        </p:nvSpPr>
        <p:spPr>
          <a:xfrm>
            <a:off x="939223" y="1745533"/>
            <a:ext cx="951723" cy="210851"/>
          </a:xfrm>
          <a:prstGeom prst="borderCallout1">
            <a:avLst>
              <a:gd name="adj1" fmla="val 42897"/>
              <a:gd name="adj2" fmla="val 99247"/>
              <a:gd name="adj3" fmla="val 44672"/>
              <a:gd name="adj4" fmla="val 150390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230C932-D650-8FD4-61D4-0B73957BEF3D}"/>
              </a:ext>
            </a:extLst>
          </p:cNvPr>
          <p:cNvSpPr txBox="1"/>
          <p:nvPr/>
        </p:nvSpPr>
        <p:spPr>
          <a:xfrm>
            <a:off x="2345816" y="1682166"/>
            <a:ext cx="609755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rgbClr val="337D61"/>
                </a:solidFill>
              </a:rPr>
              <a:t>ListDynamicColumn.Icon / Column Name</a:t>
            </a:r>
          </a:p>
        </p:txBody>
      </p:sp>
      <p:sp>
        <p:nvSpPr>
          <p:cNvPr id="24" name="Callout: Line 23">
            <a:extLst>
              <a:ext uri="{FF2B5EF4-FFF2-40B4-BE49-F238E27FC236}">
                <a16:creationId xmlns:a16="http://schemas.microsoft.com/office/drawing/2014/main" id="{D7EF2166-032F-9913-164C-B729F5274EEA}"/>
              </a:ext>
            </a:extLst>
          </p:cNvPr>
          <p:cNvSpPr/>
          <p:nvPr/>
        </p:nvSpPr>
        <p:spPr>
          <a:xfrm>
            <a:off x="975218" y="2028463"/>
            <a:ext cx="951723" cy="210851"/>
          </a:xfrm>
          <a:prstGeom prst="borderCallout1">
            <a:avLst>
              <a:gd name="adj1" fmla="val 42897"/>
              <a:gd name="adj2" fmla="val 99247"/>
              <a:gd name="adj3" fmla="val 44672"/>
              <a:gd name="adj4" fmla="val 140586"/>
            </a:avLst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8D2D3C9-8230-AC48-4376-374D31AA1BE2}"/>
              </a:ext>
            </a:extLst>
          </p:cNvPr>
          <p:cNvSpPr txBox="1"/>
          <p:nvPr/>
        </p:nvSpPr>
        <p:spPr>
          <a:xfrm>
            <a:off x="2347145" y="1986709"/>
            <a:ext cx="914400" cy="20008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0070C0"/>
                </a:solidFill>
              </a:rPr>
              <a:t>ListCellValue.CellValue</a:t>
            </a:r>
            <a:endParaRPr lang="en-US" sz="1400" dirty="0" err="1">
              <a:solidFill>
                <a:srgbClr val="0070C0"/>
              </a:solidFill>
            </a:endParaRPr>
          </a:p>
        </p:txBody>
      </p:sp>
      <p:sp>
        <p:nvSpPr>
          <p:cNvPr id="27" name="Callout: Line 26">
            <a:extLst>
              <a:ext uri="{FF2B5EF4-FFF2-40B4-BE49-F238E27FC236}">
                <a16:creationId xmlns:a16="http://schemas.microsoft.com/office/drawing/2014/main" id="{50D6D44A-B47B-4F66-A189-7F95A9490F5D}"/>
              </a:ext>
            </a:extLst>
          </p:cNvPr>
          <p:cNvSpPr/>
          <p:nvPr/>
        </p:nvSpPr>
        <p:spPr>
          <a:xfrm>
            <a:off x="939222" y="4737451"/>
            <a:ext cx="1726167" cy="210851"/>
          </a:xfrm>
          <a:prstGeom prst="borderCallout1">
            <a:avLst>
              <a:gd name="adj1" fmla="val 42897"/>
              <a:gd name="adj2" fmla="val 99247"/>
              <a:gd name="adj3" fmla="val 44672"/>
              <a:gd name="adj4" fmla="val 140586"/>
            </a:avLst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9" name="Callout: Line 28">
            <a:extLst>
              <a:ext uri="{FF2B5EF4-FFF2-40B4-BE49-F238E27FC236}">
                <a16:creationId xmlns:a16="http://schemas.microsoft.com/office/drawing/2014/main" id="{9179DB8E-58EE-08F5-0E8C-083E47674027}"/>
              </a:ext>
            </a:extLst>
          </p:cNvPr>
          <p:cNvSpPr/>
          <p:nvPr/>
        </p:nvSpPr>
        <p:spPr>
          <a:xfrm>
            <a:off x="939224" y="5090776"/>
            <a:ext cx="1726166" cy="210851"/>
          </a:xfrm>
          <a:prstGeom prst="borderCallout1">
            <a:avLst>
              <a:gd name="adj1" fmla="val 42897"/>
              <a:gd name="adj2" fmla="val 99247"/>
              <a:gd name="adj3" fmla="val -12856"/>
              <a:gd name="adj4" fmla="val 140586"/>
            </a:avLst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0007601A-6818-F0D6-CD73-2DF9ECB2CEDA}"/>
              </a:ext>
            </a:extLst>
          </p:cNvPr>
          <p:cNvSpPr/>
          <p:nvPr/>
        </p:nvSpPr>
        <p:spPr>
          <a:xfrm>
            <a:off x="3480317" y="4796342"/>
            <a:ext cx="1825636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FileAttachment</a:t>
            </a:r>
          </a:p>
        </p:txBody>
      </p:sp>
      <p:sp>
        <p:nvSpPr>
          <p:cNvPr id="31" name="Callout: Line 30">
            <a:extLst>
              <a:ext uri="{FF2B5EF4-FFF2-40B4-BE49-F238E27FC236}">
                <a16:creationId xmlns:a16="http://schemas.microsoft.com/office/drawing/2014/main" id="{1C4526EA-E5E8-DE4F-90D9-2685432F4A52}"/>
              </a:ext>
            </a:extLst>
          </p:cNvPr>
          <p:cNvSpPr/>
          <p:nvPr/>
        </p:nvSpPr>
        <p:spPr>
          <a:xfrm>
            <a:off x="6945025" y="2300491"/>
            <a:ext cx="2582809" cy="722325"/>
          </a:xfrm>
          <a:prstGeom prst="borderCallout1">
            <a:avLst>
              <a:gd name="adj1" fmla="val 42897"/>
              <a:gd name="adj2" fmla="val 99247"/>
              <a:gd name="adj3" fmla="val 80841"/>
              <a:gd name="adj4" fmla="val 112769"/>
            </a:avLst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979BAD68-2832-5F24-EE6A-068805309A72}"/>
              </a:ext>
            </a:extLst>
          </p:cNvPr>
          <p:cNvSpPr/>
          <p:nvPr/>
        </p:nvSpPr>
        <p:spPr>
          <a:xfrm>
            <a:off x="9913555" y="2870856"/>
            <a:ext cx="2035792" cy="303920"/>
          </a:xfrm>
          <a:prstGeom prst="roundRect">
            <a:avLst/>
          </a:prstGeom>
          <a:solidFill>
            <a:srgbClr val="F39800"/>
          </a:solidFill>
          <a:ln>
            <a:solidFill>
              <a:srgbClr val="F39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RowComment</a:t>
            </a:r>
          </a:p>
        </p:txBody>
      </p:sp>
      <p:sp>
        <p:nvSpPr>
          <p:cNvPr id="33" name="Callout: Line 32">
            <a:extLst>
              <a:ext uri="{FF2B5EF4-FFF2-40B4-BE49-F238E27FC236}">
                <a16:creationId xmlns:a16="http://schemas.microsoft.com/office/drawing/2014/main" id="{A2A7FFD1-EF6F-5C1D-E23F-2E5F4982481D}"/>
              </a:ext>
            </a:extLst>
          </p:cNvPr>
          <p:cNvSpPr/>
          <p:nvPr/>
        </p:nvSpPr>
        <p:spPr>
          <a:xfrm>
            <a:off x="6945024" y="3129667"/>
            <a:ext cx="2582809" cy="722325"/>
          </a:xfrm>
          <a:prstGeom prst="borderCallout1">
            <a:avLst>
              <a:gd name="adj1" fmla="val 42897"/>
              <a:gd name="adj2" fmla="val 99247"/>
              <a:gd name="adj3" fmla="val 16254"/>
              <a:gd name="adj4" fmla="val 113130"/>
            </a:avLst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9320DA1-185C-F21D-328C-37FFDE185F4A}"/>
              </a:ext>
            </a:extLst>
          </p:cNvPr>
          <p:cNvSpPr/>
          <p:nvPr/>
        </p:nvSpPr>
        <p:spPr>
          <a:xfrm>
            <a:off x="7165910" y="2374853"/>
            <a:ext cx="345234" cy="415001"/>
          </a:xfrm>
          <a:prstGeom prst="rect">
            <a:avLst/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01414DA-93AC-E64C-0365-73418E38997D}"/>
              </a:ext>
            </a:extLst>
          </p:cNvPr>
          <p:cNvSpPr/>
          <p:nvPr/>
        </p:nvSpPr>
        <p:spPr>
          <a:xfrm>
            <a:off x="7516292" y="2388306"/>
            <a:ext cx="345234" cy="197286"/>
          </a:xfrm>
          <a:prstGeom prst="rect">
            <a:avLst/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4181888-AB8B-FB3A-4056-C2C3A7EA8A28}"/>
              </a:ext>
            </a:extLst>
          </p:cNvPr>
          <p:cNvSpPr txBox="1"/>
          <p:nvPr/>
        </p:nvSpPr>
        <p:spPr>
          <a:xfrm>
            <a:off x="7981812" y="2395747"/>
            <a:ext cx="835617" cy="307777"/>
          </a:xfrm>
          <a:prstGeom prst="rect">
            <a:avLst/>
          </a:prstGeom>
          <a:solidFill>
            <a:srgbClr val="FAD699"/>
          </a:solidFill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ysClr val="windowText" lastClr="000000"/>
                </a:solidFill>
              </a:rPr>
              <a:t>Accoun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09EFA63-0FC2-B1CE-C458-13B7483A4EB4}"/>
              </a:ext>
            </a:extLst>
          </p:cNvPr>
          <p:cNvSpPr/>
          <p:nvPr/>
        </p:nvSpPr>
        <p:spPr>
          <a:xfrm>
            <a:off x="7511145" y="3354231"/>
            <a:ext cx="615818" cy="437443"/>
          </a:xfrm>
          <a:prstGeom prst="rect">
            <a:avLst/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58175A0-7F77-3477-1B51-5A80B0B09252}"/>
              </a:ext>
            </a:extLst>
          </p:cNvPr>
          <p:cNvSpPr txBox="1"/>
          <p:nvPr/>
        </p:nvSpPr>
        <p:spPr>
          <a:xfrm>
            <a:off x="6945024" y="3922667"/>
            <a:ext cx="260147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srgbClr val="F39800"/>
                </a:solidFill>
              </a:rPr>
              <a:t>ListRowComment.Content</a:t>
            </a:r>
          </a:p>
          <a:p>
            <a:r>
              <a:rPr lang="en-US" sz="1400">
                <a:solidFill>
                  <a:srgbClr val="F39800"/>
                </a:solidFill>
              </a:rPr>
              <a:t>ListRowComment.CreatedAt</a:t>
            </a:r>
          </a:p>
          <a:p>
            <a:r>
              <a:rPr lang="en-US" sz="1400">
                <a:solidFill>
                  <a:srgbClr val="F39800"/>
                </a:solidFill>
              </a:rPr>
              <a:t>ListRowComment.CreatedBy</a:t>
            </a:r>
          </a:p>
        </p:txBody>
      </p:sp>
    </p:spTree>
    <p:extLst>
      <p:ext uri="{BB962C8B-B14F-4D97-AF65-F5344CB8AC3E}">
        <p14:creationId xmlns:p14="http://schemas.microsoft.com/office/powerpoint/2010/main" val="28440809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6E7812-587E-FCAF-F965-A1B04E651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ShareLink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5C7A18-2EC8-924A-A6B5-97506DB306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152207"/>
            <a:ext cx="4620270" cy="455358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17CFCF4-A57D-D63E-3175-9E1F695688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549000"/>
            <a:ext cx="4696480" cy="614448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Callout: Line 13">
            <a:extLst>
              <a:ext uri="{FF2B5EF4-FFF2-40B4-BE49-F238E27FC236}">
                <a16:creationId xmlns:a16="http://schemas.microsoft.com/office/drawing/2014/main" id="{277616E1-01BB-C723-F7F7-BD8B21D5C1B9}"/>
              </a:ext>
            </a:extLst>
          </p:cNvPr>
          <p:cNvSpPr/>
          <p:nvPr/>
        </p:nvSpPr>
        <p:spPr>
          <a:xfrm>
            <a:off x="6096000" y="1647000"/>
            <a:ext cx="4696480" cy="648331"/>
          </a:xfrm>
          <a:prstGeom prst="borderCallout1">
            <a:avLst>
              <a:gd name="adj1" fmla="val 39980"/>
              <a:gd name="adj2" fmla="val 99680"/>
              <a:gd name="adj3" fmla="val 135839"/>
              <a:gd name="adj4" fmla="val 108122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688C979-61F1-C235-B438-A19C16D58DB7}"/>
              </a:ext>
            </a:extLst>
          </p:cNvPr>
          <p:cNvSpPr/>
          <p:nvPr/>
        </p:nvSpPr>
        <p:spPr>
          <a:xfrm>
            <a:off x="11292909" y="2573281"/>
            <a:ext cx="899091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cope</a:t>
            </a: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750CDFAA-1056-02E8-1B1E-4D5E199E5A2F}"/>
              </a:ext>
            </a:extLst>
          </p:cNvPr>
          <p:cNvSpPr/>
          <p:nvPr/>
        </p:nvSpPr>
        <p:spPr>
          <a:xfrm>
            <a:off x="6096000" y="2401076"/>
            <a:ext cx="4696480" cy="648331"/>
          </a:xfrm>
          <a:prstGeom prst="borderCallout1">
            <a:avLst>
              <a:gd name="adj1" fmla="val 39980"/>
              <a:gd name="adj2" fmla="val 99680"/>
              <a:gd name="adj3" fmla="val 49488"/>
              <a:gd name="adj4" fmla="val 107923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9950B364-8BCE-4A7F-4A74-F7E0FC21B3D4}"/>
              </a:ext>
            </a:extLst>
          </p:cNvPr>
          <p:cNvSpPr/>
          <p:nvPr/>
        </p:nvSpPr>
        <p:spPr>
          <a:xfrm>
            <a:off x="6096000" y="3129319"/>
            <a:ext cx="4696480" cy="556273"/>
          </a:xfrm>
          <a:prstGeom prst="borderCallout1">
            <a:avLst>
              <a:gd name="adj1" fmla="val 39980"/>
              <a:gd name="adj2" fmla="val 99680"/>
              <a:gd name="adj3" fmla="val -11767"/>
              <a:gd name="adj4" fmla="val 107923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C30368D-9A3D-648D-587C-E13F85FB89A2}"/>
              </a:ext>
            </a:extLst>
          </p:cNvPr>
          <p:cNvSpPr/>
          <p:nvPr/>
        </p:nvSpPr>
        <p:spPr>
          <a:xfrm>
            <a:off x="6142909" y="1726912"/>
            <a:ext cx="298581" cy="36314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391CDF-E7F0-4E28-8987-803CC55B73B1}"/>
              </a:ext>
            </a:extLst>
          </p:cNvPr>
          <p:cNvSpPr/>
          <p:nvPr/>
        </p:nvSpPr>
        <p:spPr>
          <a:xfrm>
            <a:off x="6493946" y="1789592"/>
            <a:ext cx="2123004" cy="406408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CB89E0-1625-8AEC-788E-7B9911579669}"/>
              </a:ext>
            </a:extLst>
          </p:cNvPr>
          <p:cNvSpPr txBox="1"/>
          <p:nvPr/>
        </p:nvSpPr>
        <p:spPr>
          <a:xfrm>
            <a:off x="8718067" y="1734357"/>
            <a:ext cx="1973295" cy="50573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spcAft>
                <a:spcPts val="600"/>
              </a:spcAft>
              <a:buClr>
                <a:schemeClr val="tx1"/>
              </a:buClr>
            </a:pPr>
            <a:r>
              <a:rPr lang="en-US" sz="1200">
                <a:solidFill>
                  <a:srgbClr val="337D61"/>
                </a:solidFill>
              </a:rPr>
              <a:t>Scope.Icon /DisplayName </a:t>
            </a:r>
          </a:p>
          <a:p>
            <a:pPr algn="l" rtl="0">
              <a:spcAft>
                <a:spcPts val="600"/>
              </a:spcAft>
              <a:buClr>
                <a:schemeClr val="tx1"/>
              </a:buClr>
            </a:pPr>
            <a:r>
              <a:rPr lang="en-US" sz="1200">
                <a:solidFill>
                  <a:srgbClr val="337D61"/>
                </a:solidFill>
              </a:rPr>
              <a:t>/ScopeDescription</a:t>
            </a:r>
            <a:endParaRPr lang="en-US" sz="1200" dirty="0" err="1">
              <a:solidFill>
                <a:srgbClr val="337D61"/>
              </a:solidFill>
            </a:endParaRPr>
          </a:p>
        </p:txBody>
      </p:sp>
      <p:sp>
        <p:nvSpPr>
          <p:cNvPr id="21" name="Callout: Line 20">
            <a:extLst>
              <a:ext uri="{FF2B5EF4-FFF2-40B4-BE49-F238E27FC236}">
                <a16:creationId xmlns:a16="http://schemas.microsoft.com/office/drawing/2014/main" id="{A09A085F-FE68-827E-B961-EBBAC3329826}"/>
              </a:ext>
            </a:extLst>
          </p:cNvPr>
          <p:cNvSpPr/>
          <p:nvPr/>
        </p:nvSpPr>
        <p:spPr>
          <a:xfrm>
            <a:off x="6142909" y="4121475"/>
            <a:ext cx="1461540" cy="366550"/>
          </a:xfrm>
          <a:prstGeom prst="borderCallout1">
            <a:avLst>
              <a:gd name="adj1" fmla="val 39980"/>
              <a:gd name="adj2" fmla="val 99680"/>
              <a:gd name="adj3" fmla="val -29586"/>
              <a:gd name="adj4" fmla="val 121330"/>
            </a:avLst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97A97B0-2067-05FC-98DC-4040B04D1DA1}"/>
              </a:ext>
            </a:extLst>
          </p:cNvPr>
          <p:cNvSpPr/>
          <p:nvPr/>
        </p:nvSpPr>
        <p:spPr>
          <a:xfrm>
            <a:off x="7983322" y="3818888"/>
            <a:ext cx="1832481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Permission</a:t>
            </a:r>
          </a:p>
        </p:txBody>
      </p:sp>
      <p:sp>
        <p:nvSpPr>
          <p:cNvPr id="23" name="Callout: Line 22">
            <a:extLst>
              <a:ext uri="{FF2B5EF4-FFF2-40B4-BE49-F238E27FC236}">
                <a16:creationId xmlns:a16="http://schemas.microsoft.com/office/drawing/2014/main" id="{1425A0A5-975B-9581-EDFE-609B57E77FA1}"/>
              </a:ext>
            </a:extLst>
          </p:cNvPr>
          <p:cNvSpPr/>
          <p:nvPr/>
        </p:nvSpPr>
        <p:spPr>
          <a:xfrm>
            <a:off x="6196079" y="4197675"/>
            <a:ext cx="1131821" cy="214150"/>
          </a:xfrm>
          <a:prstGeom prst="borderCallout1">
            <a:avLst>
              <a:gd name="adj1" fmla="val 39980"/>
              <a:gd name="adj2" fmla="val 99680"/>
              <a:gd name="adj3" fmla="val 55220"/>
              <a:gd name="adj4" fmla="val 138498"/>
            </a:avLst>
          </a:prstGeom>
          <a:noFill/>
          <a:ln w="12700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5E8EBC-5F94-1D2B-F9F7-611B686C959E}"/>
              </a:ext>
            </a:extLst>
          </p:cNvPr>
          <p:cNvSpPr txBox="1"/>
          <p:nvPr/>
        </p:nvSpPr>
        <p:spPr>
          <a:xfrm>
            <a:off x="7651358" y="4178209"/>
            <a:ext cx="31851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>
                <a:solidFill>
                  <a:srgbClr val="005194"/>
                </a:solidFill>
              </a:rPr>
              <a:t>ListPermission.Icon /PermissionName</a:t>
            </a:r>
          </a:p>
        </p:txBody>
      </p:sp>
      <p:sp>
        <p:nvSpPr>
          <p:cNvPr id="26" name="Callout: Line 25">
            <a:extLst>
              <a:ext uri="{FF2B5EF4-FFF2-40B4-BE49-F238E27FC236}">
                <a16:creationId xmlns:a16="http://schemas.microsoft.com/office/drawing/2014/main" id="{A892E7B2-1B36-409B-22F8-C4ED2CC84230}"/>
              </a:ext>
            </a:extLst>
          </p:cNvPr>
          <p:cNvSpPr/>
          <p:nvPr/>
        </p:nvSpPr>
        <p:spPr>
          <a:xfrm>
            <a:off x="404166" y="2032528"/>
            <a:ext cx="3971891" cy="540754"/>
          </a:xfrm>
          <a:prstGeom prst="borderCallout1">
            <a:avLst>
              <a:gd name="adj1" fmla="val 39980"/>
              <a:gd name="adj2" fmla="val 99680"/>
              <a:gd name="adj3" fmla="val -9101"/>
              <a:gd name="adj4" fmla="val 104598"/>
            </a:avLst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5462746-B600-B707-B81E-98B251AB79D7}"/>
              </a:ext>
            </a:extLst>
          </p:cNvPr>
          <p:cNvSpPr/>
          <p:nvPr/>
        </p:nvSpPr>
        <p:spPr>
          <a:xfrm>
            <a:off x="3153747" y="1422085"/>
            <a:ext cx="1757807" cy="54075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ShareLinkUserAccess</a:t>
            </a:r>
          </a:p>
        </p:txBody>
      </p:sp>
      <p:sp>
        <p:nvSpPr>
          <p:cNvPr id="28" name="Callout: Line 27">
            <a:extLst>
              <a:ext uri="{FF2B5EF4-FFF2-40B4-BE49-F238E27FC236}">
                <a16:creationId xmlns:a16="http://schemas.microsoft.com/office/drawing/2014/main" id="{8BF19ACA-005A-20F3-799D-F3506ECC2422}"/>
              </a:ext>
            </a:extLst>
          </p:cNvPr>
          <p:cNvSpPr/>
          <p:nvPr/>
        </p:nvSpPr>
        <p:spPr>
          <a:xfrm>
            <a:off x="1320109" y="5199883"/>
            <a:ext cx="3438504" cy="505909"/>
          </a:xfrm>
          <a:prstGeom prst="borderCallout1">
            <a:avLst>
              <a:gd name="adj1" fmla="val 100843"/>
              <a:gd name="adj2" fmla="val 91811"/>
              <a:gd name="adj3" fmla="val 166110"/>
              <a:gd name="adj4" fmla="val 86688"/>
            </a:avLst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4F6EF9B-A05D-E640-D231-177508879B6F}"/>
              </a:ext>
            </a:extLst>
          </p:cNvPr>
          <p:cNvSpPr/>
          <p:nvPr/>
        </p:nvSpPr>
        <p:spPr>
          <a:xfrm>
            <a:off x="6493946" y="2649244"/>
            <a:ext cx="1875613" cy="346780"/>
          </a:xfrm>
          <a:prstGeom prst="rect">
            <a:avLst/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700017E-262C-3066-359C-8F9A9CD5E5BA}"/>
              </a:ext>
            </a:extLst>
          </p:cNvPr>
          <p:cNvSpPr/>
          <p:nvPr/>
        </p:nvSpPr>
        <p:spPr>
          <a:xfrm>
            <a:off x="1642188" y="6103363"/>
            <a:ext cx="2668555" cy="303920"/>
          </a:xfrm>
          <a:prstGeom prst="roundRect">
            <a:avLst/>
          </a:prstGeom>
          <a:solidFill>
            <a:srgbClr val="FAD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ListMemberPermission</a:t>
            </a:r>
          </a:p>
        </p:txBody>
      </p:sp>
    </p:spTree>
    <p:extLst>
      <p:ext uri="{BB962C8B-B14F-4D97-AF65-F5344CB8AC3E}">
        <p14:creationId xmlns:p14="http://schemas.microsoft.com/office/powerpoint/2010/main" val="265842069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B0D027-B3F7-89E5-CAF3-A25423648F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B18936-ECB1-5DFC-8B4A-6338A87EC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hareLink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0AD3BC-E903-BB8B-2415-B05EB53E1C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4241" y="1098000"/>
            <a:ext cx="4448796" cy="52394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FD82683-0E4E-DCFB-009B-44851B450D83}"/>
              </a:ext>
            </a:extLst>
          </p:cNvPr>
          <p:cNvSpPr/>
          <p:nvPr/>
        </p:nvSpPr>
        <p:spPr>
          <a:xfrm>
            <a:off x="2429043" y="5330014"/>
            <a:ext cx="3971891" cy="974468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AE12C16-01F5-D1A1-4B2C-AB38AE7FDC8D}"/>
              </a:ext>
            </a:extLst>
          </p:cNvPr>
          <p:cNvSpPr/>
          <p:nvPr/>
        </p:nvSpPr>
        <p:spPr>
          <a:xfrm>
            <a:off x="2429045" y="3002910"/>
            <a:ext cx="3971891" cy="814853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AFD95BD-124D-48CE-CBA6-8685FA5DD26D}"/>
              </a:ext>
            </a:extLst>
          </p:cNvPr>
          <p:cNvSpPr/>
          <p:nvPr/>
        </p:nvSpPr>
        <p:spPr>
          <a:xfrm>
            <a:off x="2429044" y="4012164"/>
            <a:ext cx="3971891" cy="1194318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9A1CB6F3-8668-8D39-823D-4BC466B3F69F}"/>
              </a:ext>
            </a:extLst>
          </p:cNvPr>
          <p:cNvSpPr/>
          <p:nvPr/>
        </p:nvSpPr>
        <p:spPr>
          <a:xfrm>
            <a:off x="2326408" y="2032528"/>
            <a:ext cx="3971891" cy="813308"/>
          </a:xfrm>
          <a:prstGeom prst="borderCallout1">
            <a:avLst>
              <a:gd name="adj1" fmla="val 39980"/>
              <a:gd name="adj2" fmla="val 99680"/>
              <a:gd name="adj3" fmla="val 44389"/>
              <a:gd name="adj4" fmla="val 124566"/>
            </a:avLst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D5250C61-FEF0-BBA5-A7AC-792F82D1F5E0}"/>
              </a:ext>
            </a:extLst>
          </p:cNvPr>
          <p:cNvSpPr/>
          <p:nvPr/>
        </p:nvSpPr>
        <p:spPr>
          <a:xfrm>
            <a:off x="2780657" y="4478192"/>
            <a:ext cx="3221829" cy="662975"/>
          </a:xfrm>
          <a:prstGeom prst="borderCallout1">
            <a:avLst>
              <a:gd name="adj1" fmla="val 60029"/>
              <a:gd name="adj2" fmla="val 99920"/>
              <a:gd name="adj3" fmla="val 53519"/>
              <a:gd name="adj4" fmla="val 143161"/>
            </a:avLst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75CF180-9A19-9773-C593-0E84492CD749}"/>
              </a:ext>
            </a:extLst>
          </p:cNvPr>
          <p:cNvSpPr/>
          <p:nvPr/>
        </p:nvSpPr>
        <p:spPr>
          <a:xfrm>
            <a:off x="7483444" y="4750602"/>
            <a:ext cx="2668555" cy="303920"/>
          </a:xfrm>
          <a:prstGeom prst="roundRect">
            <a:avLst/>
          </a:prstGeom>
          <a:solidFill>
            <a:srgbClr val="FAD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ShareLinkUserAcces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81DB8F5-BE14-4AB6-0ACB-0B403A4A1739}"/>
              </a:ext>
            </a:extLst>
          </p:cNvPr>
          <p:cNvSpPr/>
          <p:nvPr/>
        </p:nvSpPr>
        <p:spPr>
          <a:xfrm>
            <a:off x="7380728" y="2150945"/>
            <a:ext cx="1275027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ShareLin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C358CE4-51C2-52A9-34A5-79CC1D292441}"/>
              </a:ext>
            </a:extLst>
          </p:cNvPr>
          <p:cNvSpPr/>
          <p:nvPr/>
        </p:nvSpPr>
        <p:spPr>
          <a:xfrm>
            <a:off x="2482076" y="2158516"/>
            <a:ext cx="298581" cy="363145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A09C98-71F8-E46A-F780-9249CD3E6695}"/>
              </a:ext>
            </a:extLst>
          </p:cNvPr>
          <p:cNvSpPr/>
          <p:nvPr/>
        </p:nvSpPr>
        <p:spPr>
          <a:xfrm>
            <a:off x="2883735" y="2145507"/>
            <a:ext cx="3199960" cy="363145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11E45F-7944-4E2C-170C-6894B75DE78A}"/>
              </a:ext>
            </a:extLst>
          </p:cNvPr>
          <p:cNvSpPr/>
          <p:nvPr/>
        </p:nvSpPr>
        <p:spPr>
          <a:xfrm>
            <a:off x="2883735" y="2542564"/>
            <a:ext cx="2229576" cy="265945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5DC29E-2621-B217-ED6D-169A836D6D19}"/>
              </a:ext>
            </a:extLst>
          </p:cNvPr>
          <p:cNvSpPr txBox="1"/>
          <p:nvPr/>
        </p:nvSpPr>
        <p:spPr>
          <a:xfrm>
            <a:off x="7321477" y="2567837"/>
            <a:ext cx="266855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</a:rPr>
              <a:t>ShareLink.ScopeId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</a:rPr>
              <a:t>ShareLink.TargetUrl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</a:rPr>
              <a:t>ShareLink. PermissionId</a:t>
            </a:r>
          </a:p>
        </p:txBody>
      </p:sp>
    </p:spTree>
    <p:extLst>
      <p:ext uri="{BB962C8B-B14F-4D97-AF65-F5344CB8AC3E}">
        <p14:creationId xmlns:p14="http://schemas.microsoft.com/office/powerpoint/2010/main" val="28133220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/>
              <a:t>Introduction</a:t>
            </a:r>
          </a:p>
          <a:p>
            <a:r>
              <a:rPr lang="en-US"/>
              <a:t>Key Functionalities</a:t>
            </a:r>
          </a:p>
          <a:p>
            <a:r>
              <a:rPr lang="en-US"/>
              <a:t>UI Analysis</a:t>
            </a:r>
          </a:p>
          <a:p>
            <a:r>
              <a:rPr lang="en-US"/>
              <a:t>Entity Design &amp; Relationships</a:t>
            </a:r>
          </a:p>
          <a:p>
            <a:r>
              <a:rPr lang="en-US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77E1AF-53D0-354A-0EA8-5872CED7E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573C99-758A-39CC-D452-0C43E71443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3672" y="1098000"/>
            <a:ext cx="8078327" cy="522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11233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C21F51-8652-4232-7538-A0557FF38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s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64D6B8-912A-58AB-4379-5370F5E6F7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5299438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42BD8EC2-177B-4B6D-A39E-E00A41D78E7A}"/>
              </a:ext>
            </a:extLst>
          </p:cNvPr>
          <p:cNvSpPr/>
          <p:nvPr/>
        </p:nvSpPr>
        <p:spPr>
          <a:xfrm>
            <a:off x="431998" y="2952056"/>
            <a:ext cx="10092933" cy="3445382"/>
          </a:xfrm>
          <a:prstGeom prst="borderCallout1">
            <a:avLst>
              <a:gd name="adj1" fmla="val -285"/>
              <a:gd name="adj2" fmla="val 77685"/>
              <a:gd name="adj3" fmla="val -13717"/>
              <a:gd name="adj4" fmla="val 64302"/>
            </a:avLst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5AC6F3D-EC5D-E215-A89A-A1413A55CFC6}"/>
              </a:ext>
            </a:extLst>
          </p:cNvPr>
          <p:cNvSpPr/>
          <p:nvPr/>
        </p:nvSpPr>
        <p:spPr>
          <a:xfrm>
            <a:off x="6096000" y="2245019"/>
            <a:ext cx="843934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rash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F02381-B749-AC72-0912-80B2FEC7D959}"/>
              </a:ext>
            </a:extLst>
          </p:cNvPr>
          <p:cNvSpPr/>
          <p:nvPr/>
        </p:nvSpPr>
        <p:spPr>
          <a:xfrm>
            <a:off x="811763" y="3429000"/>
            <a:ext cx="435430" cy="2831841"/>
          </a:xfrm>
          <a:prstGeom prst="rect">
            <a:avLst/>
          </a:prstGeom>
          <a:noFill/>
          <a:ln w="28575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71C14-D66A-418D-2515-3DD726B02AD8}"/>
              </a:ext>
            </a:extLst>
          </p:cNvPr>
          <p:cNvSpPr/>
          <p:nvPr/>
        </p:nvSpPr>
        <p:spPr>
          <a:xfrm>
            <a:off x="1362271" y="3428999"/>
            <a:ext cx="1175656" cy="2831841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FE3E78-CE10-955C-4115-FE317A820FC1}"/>
              </a:ext>
            </a:extLst>
          </p:cNvPr>
          <p:cNvSpPr/>
          <p:nvPr/>
        </p:nvSpPr>
        <p:spPr>
          <a:xfrm>
            <a:off x="3996611" y="3428998"/>
            <a:ext cx="1601755" cy="2831841"/>
          </a:xfrm>
          <a:prstGeom prst="rect">
            <a:avLst/>
          </a:prstGeom>
          <a:noFill/>
          <a:ln w="28575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2BB2D7-363B-BDE3-EB3F-741EF8A0D716}"/>
              </a:ext>
            </a:extLst>
          </p:cNvPr>
          <p:cNvSpPr/>
          <p:nvPr/>
        </p:nvSpPr>
        <p:spPr>
          <a:xfrm>
            <a:off x="5878285" y="3428997"/>
            <a:ext cx="1334278" cy="2831841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885B4F-1400-8340-14C6-97DB5FA67817}"/>
              </a:ext>
            </a:extLst>
          </p:cNvPr>
          <p:cNvSpPr/>
          <p:nvPr/>
        </p:nvSpPr>
        <p:spPr>
          <a:xfrm>
            <a:off x="7433387" y="3429000"/>
            <a:ext cx="1175656" cy="2831841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45EE49-E357-E284-4424-8846516F8085}"/>
              </a:ext>
            </a:extLst>
          </p:cNvPr>
          <p:cNvSpPr/>
          <p:nvPr/>
        </p:nvSpPr>
        <p:spPr>
          <a:xfrm>
            <a:off x="8727549" y="3428996"/>
            <a:ext cx="1601754" cy="2831841"/>
          </a:xfrm>
          <a:prstGeom prst="rect">
            <a:avLst/>
          </a:prstGeom>
          <a:noFill/>
          <a:ln w="28575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8C9A450-02B4-A7A6-D97F-3D34961332BE}"/>
              </a:ext>
            </a:extLst>
          </p:cNvPr>
          <p:cNvSpPr txBox="1"/>
          <p:nvPr/>
        </p:nvSpPr>
        <p:spPr>
          <a:xfrm>
            <a:off x="679653" y="3068047"/>
            <a:ext cx="700571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tx2">
                    <a:lumMod val="75000"/>
                  </a:schemeClr>
                </a:solidFill>
              </a:rPr>
              <a:t>Ic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CE5B224-9992-2D29-4D64-9E1514DD72AA}"/>
              </a:ext>
            </a:extLst>
          </p:cNvPr>
          <p:cNvSpPr txBox="1"/>
          <p:nvPr/>
        </p:nvSpPr>
        <p:spPr>
          <a:xfrm>
            <a:off x="2570572" y="3441484"/>
            <a:ext cx="1325653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EntityId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EntityTyp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DE206EA-5BEE-00DF-D0B6-0A97A1C12681}"/>
              </a:ext>
            </a:extLst>
          </p:cNvPr>
          <p:cNvSpPr txBox="1"/>
          <p:nvPr/>
        </p:nvSpPr>
        <p:spPr>
          <a:xfrm>
            <a:off x="4029257" y="3072152"/>
            <a:ext cx="1764425" cy="3693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DateDateted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EE8D209-4CEE-3ECF-4B81-A7DA32D3B593}"/>
              </a:ext>
            </a:extLst>
          </p:cNvPr>
          <p:cNvSpPr/>
          <p:nvPr/>
        </p:nvSpPr>
        <p:spPr>
          <a:xfrm>
            <a:off x="6668122" y="3068047"/>
            <a:ext cx="1184987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Account</a:t>
            </a:r>
          </a:p>
        </p:txBody>
      </p:sp>
    </p:spTree>
    <p:extLst>
      <p:ext uri="{BB962C8B-B14F-4D97-AF65-F5344CB8AC3E}">
        <p14:creationId xmlns:p14="http://schemas.microsoft.com/office/powerpoint/2010/main" val="31222204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03306-D96C-F23E-D98C-D03D10535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EF90ED-AEED-A160-1BCE-A3CD84AD9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5B0710-24D8-DC02-9718-E3525B623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9AC88A2-8CBC-9629-9F61-1ECA954DFD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28F7F58-5182-D291-B326-EF091C452E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0132493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What is MS Lists?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E9F1D8E-5CD6-669B-488D-B0394463E6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559" t="-5617" r="31079" b="-2491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MS List is a tool for managing structured lists of data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Works like a simple table or database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Create lists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View data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Manage info clearly and easil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at is Microsoft Li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Key </a:t>
            </a:r>
            <a:r>
              <a:rPr lang="en-US" err="1"/>
              <a:t>Functionaliti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3A8424D-E30A-CC8F-7CCA-CAC552D8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72572" y="1109759"/>
            <a:ext cx="7219428" cy="463848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826883"/>
            <a:ext cx="4877419" cy="3204232"/>
          </a:xfrm>
        </p:spPr>
        <p:txBody>
          <a:bodyPr wrap="square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Create and Manage Li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Colum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Manage List 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onditional Forma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ermissions and Sha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Built-in Templ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9ECD-E04B-9B6C-75C2-0FA45FCB0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 Scre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E593C1-5DCE-59D6-6031-80E14E6E3AA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51978"/>
            <a:ext cx="12192000" cy="5952995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:a16="http://schemas.microsoft.com/office/drawing/2014/main" id="{059E674D-0B7B-3B3A-835A-5669185DCB6C}"/>
              </a:ext>
            </a:extLst>
          </p:cNvPr>
          <p:cNvSpPr/>
          <p:nvPr/>
        </p:nvSpPr>
        <p:spPr>
          <a:xfrm>
            <a:off x="1365337" y="2029216"/>
            <a:ext cx="1828800" cy="1929009"/>
          </a:xfrm>
          <a:prstGeom prst="borderCallout1">
            <a:avLst>
              <a:gd name="adj1" fmla="val 51218"/>
              <a:gd name="adj2" fmla="val 100571"/>
              <a:gd name="adj3" fmla="val 23539"/>
              <a:gd name="adj4" fmla="val 127420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76ACE609-ADE7-8FA6-D67F-709DEC7FC4B1}"/>
              </a:ext>
            </a:extLst>
          </p:cNvPr>
          <p:cNvSpPr/>
          <p:nvPr/>
        </p:nvSpPr>
        <p:spPr>
          <a:xfrm>
            <a:off x="9419572" y="4770153"/>
            <a:ext cx="951978" cy="1390389"/>
          </a:xfrm>
          <a:prstGeom prst="borderCallout1">
            <a:avLst>
              <a:gd name="adj1" fmla="val 1172"/>
              <a:gd name="adj2" fmla="val 47615"/>
              <a:gd name="adj3" fmla="val -94131"/>
              <a:gd name="adj4" fmla="val 48217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D0B8A47D-3547-807B-99FF-900921EB91D1}"/>
              </a:ext>
            </a:extLst>
          </p:cNvPr>
          <p:cNvSpPr/>
          <p:nvPr/>
        </p:nvSpPr>
        <p:spPr>
          <a:xfrm>
            <a:off x="1365337" y="4108538"/>
            <a:ext cx="9356942" cy="2749462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0B66730-7CB9-D045-8F1A-ADCA620E6E40}"/>
              </a:ext>
            </a:extLst>
          </p:cNvPr>
          <p:cNvSpPr txBox="1"/>
          <p:nvPr/>
        </p:nvSpPr>
        <p:spPr>
          <a:xfrm>
            <a:off x="3733800" y="22606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A032CC-2F2D-C91F-8C7E-7EB8145AF3DC}"/>
              </a:ext>
            </a:extLst>
          </p:cNvPr>
          <p:cNvSpPr/>
          <p:nvPr/>
        </p:nvSpPr>
        <p:spPr>
          <a:xfrm>
            <a:off x="3733800" y="2200927"/>
            <a:ext cx="1384300" cy="4888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err="1">
                <a:solidFill>
                  <a:sysClr val="windowText" lastClr="000000"/>
                </a:solidFill>
              </a:rPr>
              <a:t>FavoriteList</a:t>
            </a:r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7828614-AFEE-30E7-52A2-118851A77558}"/>
              </a:ext>
            </a:extLst>
          </p:cNvPr>
          <p:cNvSpPr/>
          <p:nvPr/>
        </p:nvSpPr>
        <p:spPr>
          <a:xfrm>
            <a:off x="6477000" y="2516749"/>
            <a:ext cx="1384300" cy="488862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RecentLis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415F6E1-D83C-0FF5-7365-BA4744546963}"/>
              </a:ext>
            </a:extLst>
          </p:cNvPr>
          <p:cNvSpPr/>
          <p:nvPr/>
        </p:nvSpPr>
        <p:spPr>
          <a:xfrm>
            <a:off x="9542399" y="2984195"/>
            <a:ext cx="609600" cy="4888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C7865340-B5F9-52C2-EF0E-FCB1D09C179D}"/>
              </a:ext>
            </a:extLst>
          </p:cNvPr>
          <p:cNvSpPr/>
          <p:nvPr/>
        </p:nvSpPr>
        <p:spPr>
          <a:xfrm>
            <a:off x="4714875" y="4772416"/>
            <a:ext cx="1057276" cy="1390389"/>
          </a:xfrm>
          <a:prstGeom prst="borderCallout1">
            <a:avLst>
              <a:gd name="adj1" fmla="val 1208"/>
              <a:gd name="adj2" fmla="val 60931"/>
              <a:gd name="adj3" fmla="val -149781"/>
              <a:gd name="adj4" fmla="val 15708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DC9D17DB-C1A2-E9D3-E7F1-6B5BE0DD6551}"/>
              </a:ext>
            </a:extLst>
          </p:cNvPr>
          <p:cNvSpPr/>
          <p:nvPr/>
        </p:nvSpPr>
        <p:spPr>
          <a:xfrm>
            <a:off x="9477048" y="5965390"/>
            <a:ext cx="837025" cy="129957"/>
          </a:xfrm>
          <a:prstGeom prst="borderCallout1">
            <a:avLst>
              <a:gd name="adj1" fmla="val 44778"/>
              <a:gd name="adj2" fmla="val 99001"/>
              <a:gd name="adj3" fmla="val 32181"/>
              <a:gd name="adj4" fmla="val 155311"/>
            </a:avLst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29F291-5C39-530A-C38C-6420E5E06A15}"/>
              </a:ext>
            </a:extLst>
          </p:cNvPr>
          <p:cNvSpPr txBox="1"/>
          <p:nvPr/>
        </p:nvSpPr>
        <p:spPr>
          <a:xfrm>
            <a:off x="10826663" y="5841041"/>
            <a:ext cx="914400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00B050"/>
                </a:solidFill>
              </a:rPr>
              <a:t>LastAccessedAt</a:t>
            </a:r>
            <a:endParaRPr lang="en-US" sz="1400" dirty="0" err="1">
              <a:solidFill>
                <a:srgbClr val="00B05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88B117-B697-B790-8A15-90AF1891374A}"/>
              </a:ext>
            </a:extLst>
          </p:cNvPr>
          <p:cNvSpPr txBox="1"/>
          <p:nvPr/>
        </p:nvSpPr>
        <p:spPr>
          <a:xfrm>
            <a:off x="10826663" y="4495906"/>
            <a:ext cx="914400" cy="118099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ListName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WorkspaceId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Icon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Color</a:t>
            </a:r>
            <a:endParaRPr lang="en-US" sz="1400" dirty="0" err="1">
              <a:solidFill>
                <a:schemeClr val="tx2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64F37AC-C7F9-F93B-3D33-00C03AAF6453}"/>
              </a:ext>
            </a:extLst>
          </p:cNvPr>
          <p:cNvCxnSpPr>
            <a:cxnSpLocks/>
          </p:cNvCxnSpPr>
          <p:nvPr/>
        </p:nvCxnSpPr>
        <p:spPr>
          <a:xfrm flipV="1">
            <a:off x="10371550" y="4662073"/>
            <a:ext cx="455113" cy="113199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5235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2491</TotalTime>
  <Words>1944</Words>
  <Application>Microsoft Office PowerPoint</Application>
  <PresentationFormat>Widescreen</PresentationFormat>
  <Paragraphs>502</Paragraphs>
  <Slides>42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on MS Lists Functionalities</vt:lpstr>
      <vt:lpstr>Agenda</vt:lpstr>
      <vt:lpstr>Introduction</vt:lpstr>
      <vt:lpstr>Introduction</vt:lpstr>
      <vt:lpstr>Key Functionalitie</vt:lpstr>
      <vt:lpstr>Key Functionalities of MS Lists</vt:lpstr>
      <vt:lpstr>Dashboard Screen</vt:lpstr>
      <vt:lpstr>Dashboard Screen</vt:lpstr>
      <vt:lpstr>Dashboard Screen</vt:lpstr>
      <vt:lpstr>Entity Relationship</vt:lpstr>
      <vt:lpstr>Create List Screen</vt:lpstr>
      <vt:lpstr>Create List From List Type</vt:lpstr>
      <vt:lpstr>Entity Relationship</vt:lpstr>
      <vt:lpstr>Create List Screen</vt:lpstr>
      <vt:lpstr>List Template</vt:lpstr>
      <vt:lpstr>List Template</vt:lpstr>
      <vt:lpstr>Create List from Template</vt:lpstr>
      <vt:lpstr>Entity Relationship</vt:lpstr>
      <vt:lpstr>List</vt:lpstr>
      <vt:lpstr>List</vt:lpstr>
      <vt:lpstr>Create View</vt:lpstr>
      <vt:lpstr>Entity Relationship</vt:lpstr>
      <vt:lpstr>Dynamic Column</vt:lpstr>
      <vt:lpstr>Create Dynamic Column</vt:lpstr>
      <vt:lpstr>Create Dynamic Column</vt:lpstr>
      <vt:lpstr>DataTypeSettingKey</vt:lpstr>
      <vt:lpstr>SystemColumn</vt:lpstr>
      <vt:lpstr>Example Data</vt:lpstr>
      <vt:lpstr>Flexible Column Display</vt:lpstr>
      <vt:lpstr>Entity Relationship</vt:lpstr>
      <vt:lpstr>SystemDataType</vt:lpstr>
      <vt:lpstr>SystemDataType</vt:lpstr>
      <vt:lpstr>SystemDataType</vt:lpstr>
      <vt:lpstr>ListColumnLookUpMap</vt:lpstr>
      <vt:lpstr>ListRow</vt:lpstr>
      <vt:lpstr>Create ShareLink</vt:lpstr>
      <vt:lpstr>ShareLink</vt:lpstr>
      <vt:lpstr>Entity Relationship</vt:lpstr>
      <vt:lpstr>Trash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33</cp:revision>
  <dcterms:created xsi:type="dcterms:W3CDTF">2025-07-10T03:51:23Z</dcterms:created>
  <dcterms:modified xsi:type="dcterms:W3CDTF">2025-08-10T13:15:17Z</dcterms:modified>
</cp:coreProperties>
</file>